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1.xml" ContentType="application/vnd.openxmlformats-officedocument.themeOverr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2.xml" ContentType="application/vnd.openxmlformats-officedocument.themeOverride+xml"/>
  <Override PartName="/ppt/notesSlides/notesSlide4.xml" ContentType="application/vnd.openxmlformats-officedocument.presentationml.notesSlide+xml"/>
  <Override PartName="/ppt/charts/chart6.xml" ContentType="application/vnd.openxmlformats-officedocument.drawingml.chart+xml"/>
  <Override PartName="/ppt/drawings/drawing1.xml" ContentType="application/vnd.openxmlformats-officedocument.drawingml.chartshapes+xml"/>
  <Override PartName="/ppt/notesSlides/notesSlide5.xml" ContentType="application/vnd.openxmlformats-officedocument.presentationml.notesSlide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drawings/drawing2.xml" ContentType="application/vnd.openxmlformats-officedocument.drawingml.chartshape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22"/>
  </p:notesMasterIdLst>
  <p:sldIdLst>
    <p:sldId id="580" r:id="rId2"/>
    <p:sldId id="2212" r:id="rId3"/>
    <p:sldId id="2210" r:id="rId4"/>
    <p:sldId id="728" r:id="rId5"/>
    <p:sldId id="578" r:id="rId6"/>
    <p:sldId id="2077" r:id="rId7"/>
    <p:sldId id="2213" r:id="rId8"/>
    <p:sldId id="2214" r:id="rId9"/>
    <p:sldId id="278" r:id="rId10"/>
    <p:sldId id="2217" r:id="rId11"/>
    <p:sldId id="2215" r:id="rId12"/>
    <p:sldId id="2216" r:id="rId13"/>
    <p:sldId id="2073" r:id="rId14"/>
    <p:sldId id="334" r:id="rId15"/>
    <p:sldId id="377" r:id="rId16"/>
    <p:sldId id="2075" r:id="rId17"/>
    <p:sldId id="2074" r:id="rId18"/>
    <p:sldId id="2219" r:id="rId19"/>
    <p:sldId id="2220" r:id="rId20"/>
    <p:sldId id="2211" r:id="rId21"/>
  </p:sldIdLst>
  <p:sldSz cx="12195175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A420F1F-4755-43E6-88A6-1D82D20714C7}" v="8" dt="2021-09-13T12:34:10.78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ddels stil 2 – utheving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820" autoAdjust="0"/>
    <p:restoredTop sz="94676"/>
  </p:normalViewPr>
  <p:slideViewPr>
    <p:cSldViewPr snapToGrid="0">
      <p:cViewPr varScale="1">
        <p:scale>
          <a:sx n="77" d="100"/>
          <a:sy n="77" d="100"/>
        </p:scale>
        <p:origin x="874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253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microsoft.com/office/2015/10/relationships/revisionInfo" Target="revisionInfo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oleObject" Target="file:///\\swedishmatch.net\data\Common\STO\Investor%20Relations\Business%20Intelligence\Johan\Sustainability%20Catalogue\2.%20Consumption%20patterns\National%20Statistics\Tobacco%20consumption%20trends%20by%20country.xlsx" TargetMode="Externa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oleObject" Target="file:///\\swedishmatch.net\data\Common\STO\Investor%20Relations\Business%20Intelligence\Johan\Sustainability%20Catalogue\2.%20Consumption%20patterns\National%20Statistics\Tobacco%20consumption%20trends%20by%20country.xlsx" TargetMode="Externa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3.xlsx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\\fhi.no\Home\Brukere_K$\KELU\Documents%20and%20Settings\kel\Mine%20Dokumenter\Excel-filer\smoking%20vs%20tc-score.xlsx" TargetMode="Externa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chartUserShapes" Target="../drawings/drawing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Smokes dail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accent3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4</c:f>
              <c:strCache>
                <c:ptCount val="3"/>
                <c:pt idx="0">
                  <c:v>Sweden</c:v>
                </c:pt>
                <c:pt idx="1">
                  <c:v>Norway</c:v>
                </c:pt>
                <c:pt idx="2">
                  <c:v>Latvia</c:v>
                </c:pt>
              </c:strCache>
            </c:strRef>
          </c:cat>
          <c:val>
            <c:numRef>
              <c:f>'Ark1'!$B$2:$B$4</c:f>
              <c:numCache>
                <c:formatCode>0%</c:formatCode>
                <c:ptCount val="3"/>
                <c:pt idx="0">
                  <c:v>7.0000000000000007E-2</c:v>
                </c:pt>
                <c:pt idx="1">
                  <c:v>0.09</c:v>
                </c:pt>
                <c:pt idx="2">
                  <c:v>0.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F1A-634F-B029-3CDE163B499A}"/>
            </c:ext>
          </c:extLst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Smokes from time to tim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accent3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4</c:f>
              <c:strCache>
                <c:ptCount val="3"/>
                <c:pt idx="0">
                  <c:v>Sweden</c:v>
                </c:pt>
                <c:pt idx="1">
                  <c:v>Norway</c:v>
                </c:pt>
                <c:pt idx="2">
                  <c:v>Latvia</c:v>
                </c:pt>
              </c:strCache>
            </c:strRef>
          </c:cat>
          <c:val>
            <c:numRef>
              <c:f>'Ark1'!$C$2:$C$4</c:f>
              <c:numCache>
                <c:formatCode>0%</c:formatCode>
                <c:ptCount val="3"/>
                <c:pt idx="0">
                  <c:v>0.05</c:v>
                </c:pt>
                <c:pt idx="1">
                  <c:v>0.08</c:v>
                </c:pt>
                <c:pt idx="2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F1A-634F-B029-3CDE163B49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713799423"/>
        <c:axId val="1726074031"/>
      </c:barChart>
      <c:catAx>
        <c:axId val="171379942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1726074031"/>
        <c:crosses val="autoZero"/>
        <c:auto val="1"/>
        <c:lblAlgn val="ctr"/>
        <c:lblOffset val="100"/>
        <c:noMultiLvlLbl val="0"/>
      </c:catAx>
      <c:valAx>
        <c:axId val="1726074031"/>
        <c:scaling>
          <c:orientation val="minMax"/>
          <c:max val="0.4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171379942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Never trie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4</c:f>
              <c:strCache>
                <c:ptCount val="3"/>
                <c:pt idx="0">
                  <c:v>Women</c:v>
                </c:pt>
                <c:pt idx="1">
                  <c:v>Men </c:v>
                </c:pt>
                <c:pt idx="2">
                  <c:v>Total</c:v>
                </c:pt>
              </c:strCache>
            </c:strRef>
          </c:cat>
          <c:val>
            <c:numRef>
              <c:f>'Ark1'!$B$2:$B$4</c:f>
              <c:numCache>
                <c:formatCode>General</c:formatCode>
                <c:ptCount val="3"/>
                <c:pt idx="0">
                  <c:v>36</c:v>
                </c:pt>
                <c:pt idx="1">
                  <c:v>13</c:v>
                </c:pt>
                <c:pt idx="2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5E7-7E4F-973F-B8C2FFA2CE66}"/>
            </c:ext>
          </c:extLst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Tried few time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4</c:f>
              <c:strCache>
                <c:ptCount val="3"/>
                <c:pt idx="0">
                  <c:v>Women</c:v>
                </c:pt>
                <c:pt idx="1">
                  <c:v>Men </c:v>
                </c:pt>
                <c:pt idx="2">
                  <c:v>Total</c:v>
                </c:pt>
              </c:strCache>
            </c:strRef>
          </c:cat>
          <c:val>
            <c:numRef>
              <c:f>'Ark1'!$C$2:$C$4</c:f>
              <c:numCache>
                <c:formatCode>General</c:formatCode>
                <c:ptCount val="3"/>
                <c:pt idx="0">
                  <c:v>30</c:v>
                </c:pt>
                <c:pt idx="1">
                  <c:v>18</c:v>
                </c:pt>
                <c:pt idx="2">
                  <c:v>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5E7-7E4F-973F-B8C2FFA2CE66}"/>
            </c:ext>
          </c:extLst>
        </c:ser>
        <c:ser>
          <c:idx val="2"/>
          <c:order val="2"/>
          <c:tx>
            <c:strRef>
              <c:f>'Ark1'!$D$1</c:f>
              <c:strCache>
                <c:ptCount val="1"/>
                <c:pt idx="0">
                  <c:v>Have quit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4</c:f>
              <c:strCache>
                <c:ptCount val="3"/>
                <c:pt idx="0">
                  <c:v>Women</c:v>
                </c:pt>
                <c:pt idx="1">
                  <c:v>Men </c:v>
                </c:pt>
                <c:pt idx="2">
                  <c:v>Total</c:v>
                </c:pt>
              </c:strCache>
            </c:strRef>
          </c:cat>
          <c:val>
            <c:numRef>
              <c:f>'Ark1'!$D$2:$D$4</c:f>
              <c:numCache>
                <c:formatCode>General</c:formatCode>
                <c:ptCount val="3"/>
                <c:pt idx="0">
                  <c:v>10</c:v>
                </c:pt>
                <c:pt idx="1">
                  <c:v>16</c:v>
                </c:pt>
                <c:pt idx="2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5E7-7E4F-973F-B8C2FFA2CE66}"/>
            </c:ext>
          </c:extLst>
        </c:ser>
        <c:ser>
          <c:idx val="3"/>
          <c:order val="3"/>
          <c:tx>
            <c:strRef>
              <c:f>'Ark1'!$E$1</c:f>
              <c:strCache>
                <c:ptCount val="1"/>
                <c:pt idx="0">
                  <c:v>Time to tim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4</c:f>
              <c:strCache>
                <c:ptCount val="3"/>
                <c:pt idx="0">
                  <c:v>Women</c:v>
                </c:pt>
                <c:pt idx="1">
                  <c:v>Men </c:v>
                </c:pt>
                <c:pt idx="2">
                  <c:v>Total</c:v>
                </c:pt>
              </c:strCache>
            </c:strRef>
          </c:cat>
          <c:val>
            <c:numRef>
              <c:f>'Ark1'!$E$2:$E$4</c:f>
              <c:numCache>
                <c:formatCode>General</c:formatCode>
                <c:ptCount val="3"/>
                <c:pt idx="0">
                  <c:v>6</c:v>
                </c:pt>
                <c:pt idx="1">
                  <c:v>10</c:v>
                </c:pt>
                <c:pt idx="2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5E7-7E4F-973F-B8C2FFA2CE66}"/>
            </c:ext>
          </c:extLst>
        </c:ser>
        <c:ser>
          <c:idx val="4"/>
          <c:order val="4"/>
          <c:tx>
            <c:strRef>
              <c:f>'Ark1'!$F$1</c:f>
              <c:strCache>
                <c:ptCount val="1"/>
                <c:pt idx="0">
                  <c:v>Regular smoker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4</c:f>
              <c:strCache>
                <c:ptCount val="3"/>
                <c:pt idx="0">
                  <c:v>Women</c:v>
                </c:pt>
                <c:pt idx="1">
                  <c:v>Men </c:v>
                </c:pt>
                <c:pt idx="2">
                  <c:v>Total</c:v>
                </c:pt>
              </c:strCache>
            </c:strRef>
          </c:cat>
          <c:val>
            <c:numRef>
              <c:f>'Ark1'!$F$2:$F$4</c:f>
              <c:numCache>
                <c:formatCode>General</c:formatCode>
                <c:ptCount val="3"/>
                <c:pt idx="0">
                  <c:v>19</c:v>
                </c:pt>
                <c:pt idx="1">
                  <c:v>43</c:v>
                </c:pt>
                <c:pt idx="2">
                  <c:v>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5E7-7E4F-973F-B8C2FFA2CE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718552655"/>
        <c:axId val="1718553055"/>
      </c:barChart>
      <c:catAx>
        <c:axId val="1718552655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1718553055"/>
        <c:crosses val="autoZero"/>
        <c:auto val="1"/>
        <c:lblAlgn val="ctr"/>
        <c:lblOffset val="100"/>
        <c:noMultiLvlLbl val="0"/>
      </c:catAx>
      <c:valAx>
        <c:axId val="1718553055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171855265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Uses oral nicotine dail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7</c:f>
              <c:strCache>
                <c:ptCount val="6"/>
                <c:pt idx="0">
                  <c:v>Norwegian men</c:v>
                </c:pt>
                <c:pt idx="1">
                  <c:v>Norwegian women</c:v>
                </c:pt>
                <c:pt idx="2">
                  <c:v>Norwegian total</c:v>
                </c:pt>
                <c:pt idx="3">
                  <c:v>Swedish men</c:v>
                </c:pt>
                <c:pt idx="4">
                  <c:v>Swedish women</c:v>
                </c:pt>
                <c:pt idx="5">
                  <c:v>Swedish total</c:v>
                </c:pt>
              </c:strCache>
            </c:strRef>
          </c:cat>
          <c:val>
            <c:numRef>
              <c:f>'Ark1'!$B$2:$B$7</c:f>
              <c:numCache>
                <c:formatCode>General</c:formatCode>
                <c:ptCount val="6"/>
                <c:pt idx="0">
                  <c:v>13</c:v>
                </c:pt>
                <c:pt idx="1">
                  <c:v>19</c:v>
                </c:pt>
                <c:pt idx="2">
                  <c:v>7</c:v>
                </c:pt>
                <c:pt idx="3">
                  <c:v>18</c:v>
                </c:pt>
                <c:pt idx="4">
                  <c:v>7</c:v>
                </c:pt>
                <c:pt idx="5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7DB-E74C-89F1-7480173D2E14}"/>
            </c:ext>
          </c:extLst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Uses oral nicotine from time to tim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7</c:f>
              <c:strCache>
                <c:ptCount val="6"/>
                <c:pt idx="0">
                  <c:v>Norwegian men</c:v>
                </c:pt>
                <c:pt idx="1">
                  <c:v>Norwegian women</c:v>
                </c:pt>
                <c:pt idx="2">
                  <c:v>Norwegian total</c:v>
                </c:pt>
                <c:pt idx="3">
                  <c:v>Swedish men</c:v>
                </c:pt>
                <c:pt idx="4">
                  <c:v>Swedish women</c:v>
                </c:pt>
                <c:pt idx="5">
                  <c:v>Swedish total</c:v>
                </c:pt>
              </c:strCache>
            </c:strRef>
          </c:cat>
          <c:val>
            <c:numRef>
              <c:f>'Ark1'!$C$2:$C$7</c:f>
              <c:numCache>
                <c:formatCode>General</c:formatCode>
                <c:ptCount val="6"/>
                <c:pt idx="0">
                  <c:v>6</c:v>
                </c:pt>
                <c:pt idx="1">
                  <c:v>3</c:v>
                </c:pt>
                <c:pt idx="2">
                  <c:v>4</c:v>
                </c:pt>
                <c:pt idx="3">
                  <c:v>4</c:v>
                </c:pt>
                <c:pt idx="4">
                  <c:v>3</c:v>
                </c:pt>
                <c:pt idx="5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7DB-E74C-89F1-7480173D2E14}"/>
            </c:ext>
          </c:extLst>
        </c:ser>
        <c:ser>
          <c:idx val="2"/>
          <c:order val="2"/>
          <c:tx>
            <c:strRef>
              <c:f>'Ark1'!$D$1</c:f>
              <c:strCache>
                <c:ptCount val="1"/>
                <c:pt idx="0">
                  <c:v>Smokes daily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7</c:f>
              <c:strCache>
                <c:ptCount val="6"/>
                <c:pt idx="0">
                  <c:v>Norwegian men</c:v>
                </c:pt>
                <c:pt idx="1">
                  <c:v>Norwegian women</c:v>
                </c:pt>
                <c:pt idx="2">
                  <c:v>Norwegian total</c:v>
                </c:pt>
                <c:pt idx="3">
                  <c:v>Swedish men</c:v>
                </c:pt>
                <c:pt idx="4">
                  <c:v>Swedish women</c:v>
                </c:pt>
                <c:pt idx="5">
                  <c:v>Swedish total</c:v>
                </c:pt>
              </c:strCache>
            </c:strRef>
          </c:cat>
          <c:val>
            <c:numRef>
              <c:f>'Ark1'!$D$2:$D$7</c:f>
              <c:numCache>
                <c:formatCode>General</c:formatCode>
                <c:ptCount val="6"/>
                <c:pt idx="0">
                  <c:v>9</c:v>
                </c:pt>
                <c:pt idx="1">
                  <c:v>9</c:v>
                </c:pt>
                <c:pt idx="2">
                  <c:v>9</c:v>
                </c:pt>
                <c:pt idx="3">
                  <c:v>7</c:v>
                </c:pt>
                <c:pt idx="4">
                  <c:v>7</c:v>
                </c:pt>
                <c:pt idx="5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7DB-E74C-89F1-7480173D2E14}"/>
            </c:ext>
          </c:extLst>
        </c:ser>
        <c:ser>
          <c:idx val="3"/>
          <c:order val="3"/>
          <c:tx>
            <c:strRef>
              <c:f>'Ark1'!$E$1</c:f>
              <c:strCache>
                <c:ptCount val="1"/>
                <c:pt idx="0">
                  <c:v>Smokes from time to tim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7</c:f>
              <c:strCache>
                <c:ptCount val="6"/>
                <c:pt idx="0">
                  <c:v>Norwegian men</c:v>
                </c:pt>
                <c:pt idx="1">
                  <c:v>Norwegian women</c:v>
                </c:pt>
                <c:pt idx="2">
                  <c:v>Norwegian total</c:v>
                </c:pt>
                <c:pt idx="3">
                  <c:v>Swedish men</c:v>
                </c:pt>
                <c:pt idx="4">
                  <c:v>Swedish women</c:v>
                </c:pt>
                <c:pt idx="5">
                  <c:v>Swedish total</c:v>
                </c:pt>
              </c:strCache>
            </c:strRef>
          </c:cat>
          <c:val>
            <c:numRef>
              <c:f>'Ark1'!$E$2:$E$7</c:f>
              <c:numCache>
                <c:formatCode>General</c:formatCode>
                <c:ptCount val="6"/>
                <c:pt idx="0">
                  <c:v>10</c:v>
                </c:pt>
                <c:pt idx="1">
                  <c:v>7</c:v>
                </c:pt>
                <c:pt idx="2">
                  <c:v>8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7DB-E74C-89F1-7480173D2E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713799423"/>
        <c:axId val="1726074031"/>
      </c:barChart>
      <c:catAx>
        <c:axId val="171379942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1726074031"/>
        <c:crosses val="autoZero"/>
        <c:auto val="1"/>
        <c:lblAlgn val="ctr"/>
        <c:lblOffset val="100"/>
        <c:noMultiLvlLbl val="0"/>
      </c:catAx>
      <c:valAx>
        <c:axId val="1726074031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171379942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6724956405920036E-2"/>
          <c:y val="8.9759017500260788E-2"/>
          <c:w val="0.91414786717606755"/>
          <c:h val="0.78747895142866653"/>
        </c:manualLayout>
      </c:layout>
      <c:lineChart>
        <c:grouping val="standard"/>
        <c:varyColors val="0"/>
        <c:ser>
          <c:idx val="0"/>
          <c:order val="0"/>
          <c:tx>
            <c:strRef>
              <c:f>Norway!$I$42</c:f>
              <c:strCache>
                <c:ptCount val="1"/>
                <c:pt idx="0">
                  <c:v>Snus users</c:v>
                </c:pt>
              </c:strCache>
            </c:strRef>
          </c:tx>
          <c:spPr>
            <a:ln w="50800" cap="rnd">
              <a:solidFill>
                <a:srgbClr val="D48127"/>
              </a:solidFill>
              <a:round/>
            </a:ln>
            <a:effectLst/>
          </c:spPr>
          <c:marker>
            <c:symbol val="none"/>
          </c:marker>
          <c:dLbls>
            <c:dLbl>
              <c:idx val="5"/>
              <c:layout>
                <c:manualLayout>
                  <c:x val="-8.3663101385292885E-2"/>
                  <c:y val="3.33497336676423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BCE-44A3-9638-13F9B4DAAA07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9BCE-44A3-9638-13F9B4DAAA07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BCE-44A3-9638-13F9B4DAAA07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BCE-44A3-9638-13F9B4DAAA07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BCE-44A3-9638-13F9B4DAAA07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BCE-44A3-9638-13F9B4DAAA07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BCE-44A3-9638-13F9B4DAAA07}"/>
                </c:ext>
              </c:extLst>
            </c:dLbl>
            <c:dLbl>
              <c:idx val="1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BCE-44A3-9638-13F9B4DAAA07}"/>
                </c:ext>
              </c:extLst>
            </c:dLbl>
            <c:dLbl>
              <c:idx val="20"/>
              <c:layout>
                <c:manualLayout>
                  <c:x val="0"/>
                  <c:y val="3.406232461250927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9B8-EE42-9BC9-9F89DD6E03A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accent3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Norway!$J$39:$BE$39</c:f>
              <c:strCache>
                <c:ptCount val="21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</c:strCache>
              <c:extLst/>
            </c:strRef>
          </c:cat>
          <c:val>
            <c:numRef>
              <c:f>Norway!$J$42:$BE$42</c:f>
              <c:numCache>
                <c:formatCode>0%</c:formatCode>
                <c:ptCount val="21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0.18</c:v>
                </c:pt>
                <c:pt idx="6">
                  <c:v>0.18</c:v>
                </c:pt>
                <c:pt idx="7">
                  <c:v>0.26</c:v>
                </c:pt>
                <c:pt idx="8">
                  <c:v>0.17</c:v>
                </c:pt>
                <c:pt idx="9">
                  <c:v>0.21</c:v>
                </c:pt>
                <c:pt idx="10">
                  <c:v>0.25</c:v>
                </c:pt>
                <c:pt idx="11">
                  <c:v>0.25</c:v>
                </c:pt>
                <c:pt idx="12">
                  <c:v>0.25</c:v>
                </c:pt>
                <c:pt idx="13">
                  <c:v>0.27</c:v>
                </c:pt>
                <c:pt idx="14">
                  <c:v>0.23</c:v>
                </c:pt>
                <c:pt idx="15">
                  <c:v>0.2</c:v>
                </c:pt>
                <c:pt idx="16">
                  <c:v>0.21</c:v>
                </c:pt>
                <c:pt idx="17">
                  <c:v>0.25</c:v>
                </c:pt>
                <c:pt idx="18">
                  <c:v>0.22</c:v>
                </c:pt>
                <c:pt idx="19">
                  <c:v>0.26</c:v>
                </c:pt>
                <c:pt idx="20">
                  <c:v>0.22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0-8AC5-47CC-A20F-198795CBA6DF}"/>
            </c:ext>
          </c:extLst>
        </c:ser>
        <c:ser>
          <c:idx val="1"/>
          <c:order val="1"/>
          <c:tx>
            <c:strRef>
              <c:f>Norway!$I$43</c:f>
              <c:strCache>
                <c:ptCount val="1"/>
                <c:pt idx="0">
                  <c:v>Smokers</c:v>
                </c:pt>
              </c:strCache>
            </c:strRef>
          </c:tx>
          <c:spPr>
            <a:ln w="50800" cap="rnd">
              <a:solidFill>
                <a:srgbClr val="075B79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9B8-EE42-9BC9-9F89DD6E03A3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9BCE-44A3-9638-13F9B4DAAA07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9BCE-44A3-9638-13F9B4DAAA07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9BCE-44A3-9638-13F9B4DAAA07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9B8-EE42-9BC9-9F89DD6E03A3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9BCE-44A3-9638-13F9B4DAAA07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9BCE-44A3-9638-13F9B4DAAA07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9B8-EE42-9BC9-9F89DD6E03A3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9BCE-44A3-9638-13F9B4DAAA07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9BCE-44A3-9638-13F9B4DAAA07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9BCE-44A3-9638-13F9B4DAAA07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9BCE-44A3-9638-13F9B4DAAA07}"/>
                </c:ext>
              </c:extLst>
            </c:dLbl>
            <c:dLbl>
              <c:idx val="1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9BCE-44A3-9638-13F9B4DAAA07}"/>
                </c:ext>
              </c:extLst>
            </c:dLbl>
            <c:dLbl>
              <c:idx val="20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D9B8-EE42-9BC9-9F89DD6E03A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Norway!$J$39:$BE$39</c:f>
              <c:strCache>
                <c:ptCount val="21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</c:strCache>
              <c:extLst/>
            </c:strRef>
          </c:cat>
          <c:val>
            <c:numRef>
              <c:f>Norway!$J$43:$BE$43</c:f>
              <c:numCache>
                <c:formatCode>0%</c:formatCode>
                <c:ptCount val="21"/>
                <c:pt idx="0">
                  <c:v>0.28000000000000003</c:v>
                </c:pt>
                <c:pt idx="1">
                  <c:v>0.28000000000000003</c:v>
                </c:pt>
                <c:pt idx="2">
                  <c:v>0.25</c:v>
                </c:pt>
                <c:pt idx="3">
                  <c:v>0.26</c:v>
                </c:pt>
                <c:pt idx="4">
                  <c:v>0.25</c:v>
                </c:pt>
                <c:pt idx="5">
                  <c:v>0.24</c:v>
                </c:pt>
                <c:pt idx="6">
                  <c:v>0.2</c:v>
                </c:pt>
                <c:pt idx="7">
                  <c:v>0.16</c:v>
                </c:pt>
                <c:pt idx="8">
                  <c:v>0.15</c:v>
                </c:pt>
                <c:pt idx="9">
                  <c:v>0.18</c:v>
                </c:pt>
                <c:pt idx="10">
                  <c:v>0.1</c:v>
                </c:pt>
                <c:pt idx="11">
                  <c:v>0.09</c:v>
                </c:pt>
                <c:pt idx="12">
                  <c:v>0.06</c:v>
                </c:pt>
                <c:pt idx="13">
                  <c:v>0.08</c:v>
                </c:pt>
                <c:pt idx="14">
                  <c:v>0.06</c:v>
                </c:pt>
                <c:pt idx="15">
                  <c:v>0.05</c:v>
                </c:pt>
                <c:pt idx="16">
                  <c:v>0.05</c:v>
                </c:pt>
                <c:pt idx="17">
                  <c:v>0.05</c:v>
                </c:pt>
                <c:pt idx="18">
                  <c:v>0.05</c:v>
                </c:pt>
                <c:pt idx="19">
                  <c:v>0.02</c:v>
                </c:pt>
                <c:pt idx="20">
                  <c:v>0.02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1-3FC8-46DF-A4DC-8150B1525C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73124799"/>
        <c:axId val="37848688"/>
      </c:lineChart>
      <c:catAx>
        <c:axId val="3731247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30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848688"/>
        <c:crosses val="autoZero"/>
        <c:auto val="1"/>
        <c:lblAlgn val="ctr"/>
        <c:lblOffset val="100"/>
        <c:tickLblSkip val="2"/>
        <c:noMultiLvlLbl val="0"/>
      </c:catAx>
      <c:valAx>
        <c:axId val="37848688"/>
        <c:scaling>
          <c:orientation val="minMax"/>
          <c:max val="0.30000000000000004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312479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nb-NO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6724956405920036E-2"/>
          <c:y val="8.9759017500260788E-2"/>
          <c:w val="0.91414786717606755"/>
          <c:h val="0.78747895142866653"/>
        </c:manualLayout>
      </c:layout>
      <c:lineChart>
        <c:grouping val="standard"/>
        <c:varyColors val="0"/>
        <c:ser>
          <c:idx val="0"/>
          <c:order val="0"/>
          <c:tx>
            <c:strRef>
              <c:f>Norway!$I$44</c:f>
              <c:strCache>
                <c:ptCount val="1"/>
                <c:pt idx="0">
                  <c:v>Snus users</c:v>
                </c:pt>
              </c:strCache>
            </c:strRef>
          </c:tx>
          <c:spPr>
            <a:ln w="50800" cap="rnd">
              <a:solidFill>
                <a:srgbClr val="D48127"/>
              </a:solidFill>
              <a:round/>
            </a:ln>
            <a:effectLst/>
          </c:spPr>
          <c:marker>
            <c:symbol val="none"/>
          </c:marker>
          <c:dLbls>
            <c:dLbl>
              <c:idx val="5"/>
              <c:layout>
                <c:manualLayout>
                  <c:x val="-9.920816497744081E-3"/>
                  <c:y val="-2.053389159254628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55F-0048-A934-25B67683C0B3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62DE-4733-990B-E6C0E352F979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62DE-4733-990B-E6C0E352F979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62DE-4733-990B-E6C0E352F979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62DE-4733-990B-E6C0E352F979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62DE-4733-990B-E6C0E352F979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62DE-4733-990B-E6C0E352F979}"/>
                </c:ext>
              </c:extLst>
            </c:dLbl>
            <c:dLbl>
              <c:idx val="1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62DE-4733-990B-E6C0E352F979}"/>
                </c:ext>
              </c:extLst>
            </c:dLbl>
            <c:dLbl>
              <c:idx val="20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55F-0048-A934-25B67683C0B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accent3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Norway!$J$39:$BE$39</c:f>
              <c:strCache>
                <c:ptCount val="21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</c:strCache>
              <c:extLst/>
            </c:strRef>
          </c:cat>
          <c:val>
            <c:numRef>
              <c:f>Norway!$J$44:$BE$44</c:f>
              <c:numCache>
                <c:formatCode>0%</c:formatCode>
                <c:ptCount val="21"/>
                <c:pt idx="0">
                  <c:v>#N/A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0.02</c:v>
                </c:pt>
                <c:pt idx="6">
                  <c:v>#N/A</c:v>
                </c:pt>
                <c:pt idx="7">
                  <c:v>0.03</c:v>
                </c:pt>
                <c:pt idx="8">
                  <c:v>0.05</c:v>
                </c:pt>
                <c:pt idx="9">
                  <c:v>7.0000000000000007E-2</c:v>
                </c:pt>
                <c:pt idx="10">
                  <c:v>0.08</c:v>
                </c:pt>
                <c:pt idx="11">
                  <c:v>0.11</c:v>
                </c:pt>
                <c:pt idx="12">
                  <c:v>0.14000000000000001</c:v>
                </c:pt>
                <c:pt idx="13">
                  <c:v>0.14000000000000001</c:v>
                </c:pt>
                <c:pt idx="14">
                  <c:v>0.12</c:v>
                </c:pt>
                <c:pt idx="15">
                  <c:v>0.13</c:v>
                </c:pt>
                <c:pt idx="16">
                  <c:v>0.17</c:v>
                </c:pt>
                <c:pt idx="17">
                  <c:v>0.14000000000000001</c:v>
                </c:pt>
                <c:pt idx="18">
                  <c:v>0.16</c:v>
                </c:pt>
                <c:pt idx="19">
                  <c:v>0.14000000000000001</c:v>
                </c:pt>
                <c:pt idx="20">
                  <c:v>0.14000000000000001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0-216A-4C59-B7D1-DFA9C00F3D6F}"/>
            </c:ext>
          </c:extLst>
        </c:ser>
        <c:ser>
          <c:idx val="1"/>
          <c:order val="1"/>
          <c:tx>
            <c:strRef>
              <c:f>Norway!$I$45</c:f>
              <c:strCache>
                <c:ptCount val="1"/>
                <c:pt idx="0">
                  <c:v>Smokers</c:v>
                </c:pt>
              </c:strCache>
            </c:strRef>
          </c:tx>
          <c:spPr>
            <a:ln w="50800" cap="rnd">
              <a:solidFill>
                <a:srgbClr val="075B79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55F-0048-A934-25B67683C0B3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62DE-4733-990B-E6C0E352F979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62DE-4733-990B-E6C0E352F979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62DE-4733-990B-E6C0E352F979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62DE-4733-990B-E6C0E352F979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62DE-4733-990B-E6C0E352F979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62DE-4733-990B-E6C0E352F979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2DE-4733-990B-E6C0E352F979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62DE-4733-990B-E6C0E352F979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2DE-4733-990B-E6C0E352F979}"/>
                </c:ext>
              </c:extLst>
            </c:dLbl>
            <c:dLbl>
              <c:idx val="1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2DE-4733-990B-E6C0E352F979}"/>
                </c:ext>
              </c:extLst>
            </c:dLbl>
            <c:dLbl>
              <c:idx val="20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55F-0048-A934-25B67683C0B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Norway!$J$39:$BE$39</c:f>
              <c:strCache>
                <c:ptCount val="21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</c:strCache>
              <c:extLst/>
            </c:strRef>
          </c:cat>
          <c:val>
            <c:numRef>
              <c:f>Norway!$J$45:$BE$45</c:f>
              <c:numCache>
                <c:formatCode>0%</c:formatCode>
                <c:ptCount val="21"/>
                <c:pt idx="0">
                  <c:v>0.3</c:v>
                </c:pt>
                <c:pt idx="1">
                  <c:v>0.3</c:v>
                </c:pt>
                <c:pt idx="2">
                  <c:v>0.27</c:v>
                </c:pt>
                <c:pt idx="3">
                  <c:v>0.24</c:v>
                </c:pt>
                <c:pt idx="4">
                  <c:v>0.22</c:v>
                </c:pt>
                <c:pt idx="5">
                  <c:v>0.22</c:v>
                </c:pt>
                <c:pt idx="6">
                  <c:v>0.21</c:v>
                </c:pt>
                <c:pt idx="7">
                  <c:v>0.18</c:v>
                </c:pt>
                <c:pt idx="8">
                  <c:v>0.17</c:v>
                </c:pt>
                <c:pt idx="9">
                  <c:v>0.15</c:v>
                </c:pt>
                <c:pt idx="10">
                  <c:v>0.14000000000000001</c:v>
                </c:pt>
                <c:pt idx="11">
                  <c:v>0.13</c:v>
                </c:pt>
                <c:pt idx="12">
                  <c:v>0.08</c:v>
                </c:pt>
                <c:pt idx="13">
                  <c:v>0.06</c:v>
                </c:pt>
                <c:pt idx="14">
                  <c:v>0.04</c:v>
                </c:pt>
                <c:pt idx="15">
                  <c:v>0.03</c:v>
                </c:pt>
                <c:pt idx="16">
                  <c:v>0.02</c:v>
                </c:pt>
                <c:pt idx="17">
                  <c:v>0.01</c:v>
                </c:pt>
                <c:pt idx="18">
                  <c:v>0.02</c:v>
                </c:pt>
                <c:pt idx="19">
                  <c:v>0.01</c:v>
                </c:pt>
                <c:pt idx="20">
                  <c:v>0.01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0-69D0-4333-B11C-F765525E31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73124799"/>
        <c:axId val="37848688"/>
      </c:lineChart>
      <c:catAx>
        <c:axId val="3731247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30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848688"/>
        <c:crosses val="autoZero"/>
        <c:auto val="1"/>
        <c:lblAlgn val="ctr"/>
        <c:lblOffset val="100"/>
        <c:tickLblSkip val="2"/>
        <c:noMultiLvlLbl val="0"/>
      </c:catAx>
      <c:valAx>
        <c:axId val="37848688"/>
        <c:scaling>
          <c:orientation val="minMax"/>
          <c:max val="0.30000000000000004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7312479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nb-NO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53191175500769E-2"/>
          <c:y val="1.6018294825569917E-2"/>
          <c:w val="0.93931529778866885"/>
          <c:h val="0.7744303404387644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1-9B49-054C-BA40-87107FA4BBB4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6-2BAA-4C37-8BF0-8BC26B337B8C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9B49-054C-BA40-87107FA4BBB4}"/>
              </c:ext>
            </c:extLst>
          </c:dPt>
          <c:dPt>
            <c:idx val="27"/>
            <c:invertIfNegative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0-A362-4616-88EA-7AF55AE7D361}"/>
              </c:ext>
            </c:extLst>
          </c:dPt>
          <c:cat>
            <c:strRef>
              <c:f>Sheet1!$A$2:$A$32</c:f>
              <c:strCache>
                <c:ptCount val="31"/>
                <c:pt idx="0">
                  <c:v>Sweden</c:v>
                </c:pt>
                <c:pt idx="1">
                  <c:v>Cyprus</c:v>
                </c:pt>
                <c:pt idx="2">
                  <c:v>Finland</c:v>
                </c:pt>
                <c:pt idx="3">
                  <c:v>Norway</c:v>
                </c:pt>
                <c:pt idx="4">
                  <c:v>Italy</c:v>
                </c:pt>
                <c:pt idx="5">
                  <c:v>Switzerland</c:v>
                </c:pt>
                <c:pt idx="6">
                  <c:v>Malta</c:v>
                </c:pt>
                <c:pt idx="7">
                  <c:v>Ireland</c:v>
                </c:pt>
                <c:pt idx="8">
                  <c:v>Austria</c:v>
                </c:pt>
                <c:pt idx="9">
                  <c:v>United Kingdom</c:v>
                </c:pt>
                <c:pt idx="10">
                  <c:v>Portugal</c:v>
                </c:pt>
                <c:pt idx="11">
                  <c:v>Luxembourg</c:v>
                </c:pt>
                <c:pt idx="12">
                  <c:v>Greece</c:v>
                </c:pt>
                <c:pt idx="13">
                  <c:v>Germany</c:v>
                </c:pt>
                <c:pt idx="14">
                  <c:v>Denmark</c:v>
                </c:pt>
                <c:pt idx="15">
                  <c:v>Netherlands</c:v>
                </c:pt>
                <c:pt idx="16">
                  <c:v>Estonia</c:v>
                </c:pt>
                <c:pt idx="17">
                  <c:v>Bulgaria</c:v>
                </c:pt>
                <c:pt idx="18">
                  <c:v>Spain</c:v>
                </c:pt>
                <c:pt idx="19">
                  <c:v>France</c:v>
                </c:pt>
                <c:pt idx="20">
                  <c:v>Russia</c:v>
                </c:pt>
                <c:pt idx="21">
                  <c:v>Slovenia</c:v>
                </c:pt>
                <c:pt idx="22">
                  <c:v>Czech</c:v>
                </c:pt>
                <c:pt idx="23">
                  <c:v>Slovakia</c:v>
                </c:pt>
                <c:pt idx="24">
                  <c:v>Belgium</c:v>
                </c:pt>
                <c:pt idx="25">
                  <c:v>Croatia</c:v>
                </c:pt>
                <c:pt idx="26">
                  <c:v>Lithuania</c:v>
                </c:pt>
                <c:pt idx="27">
                  <c:v>Latvia</c:v>
                </c:pt>
                <c:pt idx="28">
                  <c:v>Poland</c:v>
                </c:pt>
                <c:pt idx="29">
                  <c:v>Romania</c:v>
                </c:pt>
                <c:pt idx="30">
                  <c:v>Hungary</c:v>
                </c:pt>
              </c:strCache>
            </c:strRef>
          </c:cat>
          <c:val>
            <c:numRef>
              <c:f>Sheet1!$B$2:$B$32</c:f>
              <c:numCache>
                <c:formatCode>General</c:formatCode>
                <c:ptCount val="31"/>
                <c:pt idx="0">
                  <c:v>32.1</c:v>
                </c:pt>
                <c:pt idx="1">
                  <c:v>35.5</c:v>
                </c:pt>
                <c:pt idx="2">
                  <c:v>48.5</c:v>
                </c:pt>
                <c:pt idx="3">
                  <c:v>51.600000000000009</c:v>
                </c:pt>
                <c:pt idx="4">
                  <c:v>52.2</c:v>
                </c:pt>
                <c:pt idx="5">
                  <c:v>54.8</c:v>
                </c:pt>
                <c:pt idx="6">
                  <c:v>55.400000000000013</c:v>
                </c:pt>
                <c:pt idx="7">
                  <c:v>57.20000000000001</c:v>
                </c:pt>
                <c:pt idx="8">
                  <c:v>57.8</c:v>
                </c:pt>
                <c:pt idx="9">
                  <c:v>57.9</c:v>
                </c:pt>
                <c:pt idx="10">
                  <c:v>58.500000000000007</c:v>
                </c:pt>
                <c:pt idx="11">
                  <c:v>59.8</c:v>
                </c:pt>
                <c:pt idx="12">
                  <c:v>62</c:v>
                </c:pt>
                <c:pt idx="13">
                  <c:v>63.20000000000001</c:v>
                </c:pt>
                <c:pt idx="14">
                  <c:v>63.5</c:v>
                </c:pt>
                <c:pt idx="15">
                  <c:v>67.400000000000006</c:v>
                </c:pt>
                <c:pt idx="16">
                  <c:v>69.600000000000009</c:v>
                </c:pt>
                <c:pt idx="17">
                  <c:v>71.8</c:v>
                </c:pt>
                <c:pt idx="18">
                  <c:v>72.2</c:v>
                </c:pt>
                <c:pt idx="19">
                  <c:v>74</c:v>
                </c:pt>
                <c:pt idx="20">
                  <c:v>74.400000000000006</c:v>
                </c:pt>
                <c:pt idx="21">
                  <c:v>74.8</c:v>
                </c:pt>
                <c:pt idx="22">
                  <c:v>75.5</c:v>
                </c:pt>
                <c:pt idx="23">
                  <c:v>76.800000000000011</c:v>
                </c:pt>
                <c:pt idx="24">
                  <c:v>79.400000000000006</c:v>
                </c:pt>
                <c:pt idx="25">
                  <c:v>80.600000000000009</c:v>
                </c:pt>
                <c:pt idx="26">
                  <c:v>81.099999999999994</c:v>
                </c:pt>
                <c:pt idx="27">
                  <c:v>81.5</c:v>
                </c:pt>
                <c:pt idx="28">
                  <c:v>81.7</c:v>
                </c:pt>
                <c:pt idx="29">
                  <c:v>83.4</c:v>
                </c:pt>
                <c:pt idx="30">
                  <c:v>110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B49-054C-BA40-87107FA4BB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49284240"/>
        <c:axId val="449289472"/>
      </c:barChart>
      <c:catAx>
        <c:axId val="44928424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 rot="-3900000"/>
          <a:lstStyle/>
          <a:p>
            <a:pPr>
              <a:defRPr sz="1100"/>
            </a:pPr>
            <a:endParaRPr lang="nb-NO"/>
          </a:p>
        </c:txPr>
        <c:crossAx val="449289472"/>
        <c:crosses val="autoZero"/>
        <c:auto val="1"/>
        <c:lblAlgn val="ctr"/>
        <c:lblOffset val="100"/>
        <c:noMultiLvlLbl val="0"/>
      </c:catAx>
      <c:valAx>
        <c:axId val="449289472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50"/>
            </a:pPr>
            <a:endParaRPr lang="nb-NO"/>
          </a:p>
        </c:txPr>
        <c:crossAx val="449284240"/>
        <c:crosses val="autoZero"/>
        <c:crossBetween val="between"/>
      </c:valAx>
      <c:spPr>
        <a:solidFill>
          <a:schemeClr val="bg1">
            <a:lumMod val="95000"/>
          </a:schemeClr>
        </a:solidFill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nb-NO"/>
    </a:p>
  </c:txPr>
  <c:externalData r:id="rId1">
    <c:autoUpdate val="0"/>
  </c:externalData>
  <c:userShapes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005021613554817E-2"/>
          <c:y val="5.1419151194630003E-2"/>
          <c:w val="0.8963335751077921"/>
          <c:h val="0.87239712392809909"/>
        </c:manualLayout>
      </c:layout>
      <c:scatterChart>
        <c:scatterStyle val="lineMarker"/>
        <c:varyColors val="0"/>
        <c:ser>
          <c:idx val="0"/>
          <c:order val="0"/>
          <c:tx>
            <c:strRef>
              <c:f>'Ark1'!$I$49</c:f>
              <c:strCache>
                <c:ptCount val="1"/>
                <c:pt idx="0">
                  <c:v>Prevalence of daily smoking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tx2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'Ark1'!$H$50:$H$78</c:f>
              <c:numCache>
                <c:formatCode>0.00</c:formatCode>
                <c:ptCount val="29"/>
                <c:pt idx="0">
                  <c:v>53</c:v>
                </c:pt>
                <c:pt idx="1">
                  <c:v>63</c:v>
                </c:pt>
                <c:pt idx="2">
                  <c:v>81</c:v>
                </c:pt>
                <c:pt idx="3">
                  <c:v>70</c:v>
                </c:pt>
                <c:pt idx="4">
                  <c:v>64</c:v>
                </c:pt>
                <c:pt idx="5">
                  <c:v>60</c:v>
                </c:pt>
                <c:pt idx="6">
                  <c:v>56</c:v>
                </c:pt>
                <c:pt idx="7">
                  <c:v>55</c:v>
                </c:pt>
                <c:pt idx="8">
                  <c:v>53</c:v>
                </c:pt>
                <c:pt idx="9">
                  <c:v>53</c:v>
                </c:pt>
                <c:pt idx="10">
                  <c:v>51</c:v>
                </c:pt>
                <c:pt idx="11">
                  <c:v>51</c:v>
                </c:pt>
                <c:pt idx="12">
                  <c:v>50</c:v>
                </c:pt>
                <c:pt idx="13">
                  <c:v>50</c:v>
                </c:pt>
                <c:pt idx="14">
                  <c:v>49</c:v>
                </c:pt>
                <c:pt idx="15">
                  <c:v>47</c:v>
                </c:pt>
                <c:pt idx="16">
                  <c:v>46</c:v>
                </c:pt>
                <c:pt idx="17">
                  <c:v>45</c:v>
                </c:pt>
                <c:pt idx="18">
                  <c:v>45</c:v>
                </c:pt>
                <c:pt idx="19">
                  <c:v>44</c:v>
                </c:pt>
                <c:pt idx="20">
                  <c:v>44</c:v>
                </c:pt>
                <c:pt idx="21">
                  <c:v>43</c:v>
                </c:pt>
                <c:pt idx="22">
                  <c:v>43</c:v>
                </c:pt>
                <c:pt idx="23">
                  <c:v>41</c:v>
                </c:pt>
                <c:pt idx="24">
                  <c:v>40</c:v>
                </c:pt>
                <c:pt idx="25">
                  <c:v>40</c:v>
                </c:pt>
                <c:pt idx="26">
                  <c:v>37</c:v>
                </c:pt>
                <c:pt idx="27">
                  <c:v>37</c:v>
                </c:pt>
                <c:pt idx="28">
                  <c:v>37</c:v>
                </c:pt>
              </c:numCache>
            </c:numRef>
          </c:xVal>
          <c:yVal>
            <c:numRef>
              <c:f>'Ark1'!$I$50:$I$78</c:f>
              <c:numCache>
                <c:formatCode>0.00</c:formatCode>
                <c:ptCount val="29"/>
                <c:pt idx="0">
                  <c:v>7</c:v>
                </c:pt>
                <c:pt idx="1">
                  <c:v>10</c:v>
                </c:pt>
                <c:pt idx="2">
                  <c:v>17</c:v>
                </c:pt>
                <c:pt idx="3">
                  <c:v>19</c:v>
                </c:pt>
                <c:pt idx="4">
                  <c:v>36</c:v>
                </c:pt>
                <c:pt idx="5">
                  <c:v>20</c:v>
                </c:pt>
                <c:pt idx="6">
                  <c:v>28</c:v>
                </c:pt>
                <c:pt idx="7">
                  <c:v>28</c:v>
                </c:pt>
                <c:pt idx="8">
                  <c:v>27</c:v>
                </c:pt>
                <c:pt idx="9">
                  <c:v>19</c:v>
                </c:pt>
                <c:pt idx="10">
                  <c:v>24</c:v>
                </c:pt>
                <c:pt idx="11">
                  <c:v>24</c:v>
                </c:pt>
                <c:pt idx="12">
                  <c:v>30</c:v>
                </c:pt>
                <c:pt idx="13">
                  <c:v>27</c:v>
                </c:pt>
                <c:pt idx="14">
                  <c:v>19</c:v>
                </c:pt>
                <c:pt idx="15">
                  <c:v>36</c:v>
                </c:pt>
                <c:pt idx="16">
                  <c:v>23</c:v>
                </c:pt>
                <c:pt idx="17">
                  <c:v>19</c:v>
                </c:pt>
                <c:pt idx="18">
                  <c:v>35</c:v>
                </c:pt>
                <c:pt idx="19">
                  <c:v>28</c:v>
                </c:pt>
                <c:pt idx="20">
                  <c:v>32</c:v>
                </c:pt>
                <c:pt idx="21">
                  <c:v>28</c:v>
                </c:pt>
                <c:pt idx="22">
                  <c:v>29</c:v>
                </c:pt>
                <c:pt idx="23">
                  <c:v>26</c:v>
                </c:pt>
                <c:pt idx="24">
                  <c:v>29</c:v>
                </c:pt>
                <c:pt idx="25">
                  <c:v>37</c:v>
                </c:pt>
                <c:pt idx="26">
                  <c:v>21</c:v>
                </c:pt>
                <c:pt idx="27">
                  <c:v>25</c:v>
                </c:pt>
                <c:pt idx="28">
                  <c:v>2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228A-234B-87D3-2393E960E6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91734160"/>
        <c:axId val="391736904"/>
      </c:scatterChart>
      <c:valAx>
        <c:axId val="391734160"/>
        <c:scaling>
          <c:orientation val="minMax"/>
          <c:max val="83"/>
          <c:min val="34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91736904"/>
        <c:crosses val="autoZero"/>
        <c:crossBetween val="midCat"/>
      </c:valAx>
      <c:valAx>
        <c:axId val="391736904"/>
        <c:scaling>
          <c:orientation val="minMax"/>
          <c:max val="38"/>
          <c:min val="2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39173416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6753</cdr:x>
      <cdr:y>0.04996</cdr:y>
    </cdr:from>
    <cdr:to>
      <cdr:x>0.7042</cdr:x>
      <cdr:y>0.28972</cdr:y>
    </cdr:to>
    <cdr:sp macro="" textlink="">
      <cdr:nvSpPr>
        <cdr:cNvPr id="2" name="TextBox 1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622631" y="232318"/>
          <a:ext cx="5869730" cy="1114898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</cdr:spPr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GB" sz="1600" b="1" dirty="0">
              <a:solidFill>
                <a:schemeClr val="bg2">
                  <a:lumMod val="25000"/>
                </a:schemeClr>
              </a:solidFill>
            </a:rPr>
            <a:t>Tobacco related cancer among men in EU </a:t>
          </a:r>
        </a:p>
        <a:p xmlns:a="http://schemas.openxmlformats.org/drawingml/2006/main">
          <a:r>
            <a:rPr lang="en-US" sz="900" i="1" dirty="0">
              <a:solidFill>
                <a:schemeClr val="bg2">
                  <a:lumMod val="50000"/>
                </a:schemeClr>
              </a:solidFill>
            </a:rPr>
            <a:t>Incidence ASR (W) , new cases per 100,000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34911</cdr:x>
      <cdr:y>0.72347</cdr:y>
    </cdr:from>
    <cdr:to>
      <cdr:x>0.47682</cdr:x>
      <cdr:y>0.78172</cdr:y>
    </cdr:to>
    <cdr:sp macro="" textlink="">
      <cdr:nvSpPr>
        <cdr:cNvPr id="5" name="TekstSylinder 5">
          <a:extLst xmlns:a="http://schemas.openxmlformats.org/drawingml/2006/main">
            <a:ext uri="{FF2B5EF4-FFF2-40B4-BE49-F238E27FC236}">
              <a16:creationId xmlns:a16="http://schemas.microsoft.com/office/drawing/2014/main" id="{861EA28C-2CD4-AB44-9B64-4792585289CC}"/>
            </a:ext>
          </a:extLst>
        </cdr:cNvPr>
        <cdr:cNvSpPr txBox="1"/>
      </cdr:nvSpPr>
      <cdr:spPr>
        <a:xfrm xmlns:a="http://schemas.openxmlformats.org/drawingml/2006/main">
          <a:off x="3594060" y="3557474"/>
          <a:ext cx="1314679" cy="286438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no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buClr>
              <a:schemeClr val="accent3"/>
            </a:buClr>
          </a:pPr>
          <a:r>
            <a:rPr lang="nb-NO" sz="1400" b="1" dirty="0" err="1">
              <a:solidFill>
                <a:schemeClr val="tx1">
                  <a:lumMod val="65000"/>
                  <a:lumOff val="35000"/>
                </a:schemeClr>
              </a:solidFill>
            </a:rPr>
            <a:t>Sweden</a:t>
          </a:r>
          <a:endParaRPr lang="nb-NO" sz="1400" b="1" dirty="0">
            <a:solidFill>
              <a:schemeClr val="tx1">
                <a:lumMod val="65000"/>
                <a:lumOff val="35000"/>
              </a:schemeClr>
            </a:solidFill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CBCB5A-631C-4DB7-A6D1-FB32AB1410A6}" type="datetimeFigureOut">
              <a:rPr lang="en-US" smtClean="0"/>
              <a:t>9/13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961EEC8-263A-4A35-A34F-9AE6EAF328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54499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2648E0-3ED1-4068-A451-0500E6D8D22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14637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Source: https://www.ssb.no/helse/helseforhold-og-levevaner/statistikk/royk-alkohol-og-andre-rusmidler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61EEC8-263A-4A35-A34F-9AE6EAF32807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30752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/>
              <a:t>Data from </a:t>
            </a:r>
            <a:r>
              <a:rPr lang="sv-SE" err="1"/>
              <a:t>Statistics</a:t>
            </a:r>
            <a:r>
              <a:rPr lang="sv-SE"/>
              <a:t> </a:t>
            </a:r>
            <a:r>
              <a:rPr lang="sv-SE" err="1"/>
              <a:t>Norway</a:t>
            </a:r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2648E0-3ED1-4068-A451-0500E6D8D22D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17371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61EEC8-263A-4A35-A34F-9AE6EAF32807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26360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Kilde: </a:t>
            </a:r>
            <a:r>
              <a:rPr lang="nb-NO" dirty="0" err="1"/>
              <a:t>Tobacco</a:t>
            </a:r>
            <a:r>
              <a:rPr lang="nb-NO" dirty="0"/>
              <a:t> Control Score 2016</a:t>
            </a:r>
          </a:p>
          <a:p>
            <a:r>
              <a:rPr lang="nb-NO" dirty="0"/>
              <a:t>Eurobarometer, mars 2017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61EEC8-263A-4A35-A34F-9AE6EAF3280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56068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1 with vi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277260"/>
          </a:xfrm>
          <a:solidFill>
            <a:schemeClr val="bg1"/>
          </a:solidFill>
        </p:spPr>
        <p:txBody>
          <a:bodyPr/>
          <a:lstStyle>
            <a:lvl1pPr marL="90000" indent="0">
              <a:buNone/>
              <a:defRPr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13399" y="579600"/>
            <a:ext cx="6791136" cy="509852"/>
          </a:xfrm>
        </p:spPr>
        <p:txBody>
          <a:bodyPr anchor="b" anchorCtr="0">
            <a:noAutofit/>
          </a:bodyPr>
          <a:lstStyle>
            <a:lvl1pPr algn="r">
              <a:lnSpc>
                <a:spcPct val="100000"/>
              </a:lnSpc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4300" y="1107882"/>
            <a:ext cx="6789600" cy="511082"/>
          </a:xfrm>
        </p:spPr>
        <p:txBody>
          <a:bodyPr>
            <a:noAutofit/>
          </a:bodyPr>
          <a:lstStyle>
            <a:lvl1pPr marL="0" indent="0" algn="r">
              <a:buNone/>
              <a:defRPr sz="2800" b="0" cap="all" baseline="0">
                <a:solidFill>
                  <a:srgbClr val="D48127"/>
                </a:solidFill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insert subtit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4526AE0-3460-4CF0-9A9B-51BA107FF9B7}"/>
              </a:ext>
            </a:extLst>
          </p:cNvPr>
          <p:cNvSpPr txBox="1"/>
          <p:nvPr userDrawn="1"/>
        </p:nvSpPr>
        <p:spPr>
          <a:xfrm>
            <a:off x="8070100" y="6409990"/>
            <a:ext cx="3733800" cy="34641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indent="0" algn="r">
              <a:buClr>
                <a:schemeClr val="accent3"/>
              </a:buClr>
              <a:buFont typeface="Courier New" panose="02070309020205020404" pitchFamily="49" charset="0"/>
              <a:buNone/>
            </a:pPr>
            <a:r>
              <a:rPr lang="sv-SE" sz="1600" dirty="0">
                <a:solidFill>
                  <a:schemeClr val="bg1"/>
                </a:solidFill>
              </a:rPr>
              <a:t>A WORLD WITHOUT CIGARETTES</a:t>
            </a:r>
            <a:endParaRPr lang="en-GB" sz="1600" dirty="0" err="1">
              <a:solidFill>
                <a:schemeClr val="bg1"/>
              </a:solidFill>
            </a:endParaRP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654CB44-C151-48F8-B650-1F572DCA5B5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948717" y="6487480"/>
            <a:ext cx="5121383" cy="26892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86334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tent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5200" y="838606"/>
            <a:ext cx="5569200" cy="454060"/>
          </a:xfrm>
        </p:spPr>
        <p:txBody>
          <a:bodyPr anchor="ctr">
            <a:noAutofit/>
          </a:bodyPr>
          <a:lstStyle>
            <a:lvl1pPr marL="0" indent="0">
              <a:buNone/>
              <a:defRPr sz="1800" b="1"/>
            </a:lvl1pPr>
            <a:lvl2pPr marL="609722" indent="0">
              <a:buNone/>
              <a:defRPr sz="2700" b="1"/>
            </a:lvl2pPr>
            <a:lvl3pPr marL="1219444" indent="0">
              <a:buNone/>
              <a:defRPr sz="2400" b="1"/>
            </a:lvl3pPr>
            <a:lvl4pPr marL="1829166" indent="0">
              <a:buNone/>
              <a:defRPr sz="2100" b="1"/>
            </a:lvl4pPr>
            <a:lvl5pPr marL="2438888" indent="0">
              <a:buNone/>
              <a:defRPr sz="2100" b="1"/>
            </a:lvl5pPr>
            <a:lvl6pPr marL="3048610" indent="0">
              <a:buNone/>
              <a:defRPr sz="2100" b="1"/>
            </a:lvl6pPr>
            <a:lvl7pPr marL="3658332" indent="0">
              <a:buNone/>
              <a:defRPr sz="2100" b="1"/>
            </a:lvl7pPr>
            <a:lvl8pPr marL="4268053" indent="0">
              <a:buNone/>
              <a:defRPr sz="2100" b="1"/>
            </a:lvl8pPr>
            <a:lvl9pPr marL="4877775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5200" y="1413244"/>
            <a:ext cx="5569200" cy="468843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9199" y="838606"/>
            <a:ext cx="5688000" cy="453495"/>
          </a:xfrm>
        </p:spPr>
        <p:txBody>
          <a:bodyPr anchor="ctr">
            <a:noAutofit/>
          </a:bodyPr>
          <a:lstStyle>
            <a:lvl1pPr marL="0" indent="0">
              <a:buNone/>
              <a:defRPr sz="1800" b="1"/>
            </a:lvl1pPr>
            <a:lvl2pPr marL="609722" indent="0">
              <a:buNone/>
              <a:defRPr sz="2700" b="1"/>
            </a:lvl2pPr>
            <a:lvl3pPr marL="1219444" indent="0">
              <a:buNone/>
              <a:defRPr sz="2400" b="1"/>
            </a:lvl3pPr>
            <a:lvl4pPr marL="1829166" indent="0">
              <a:buNone/>
              <a:defRPr sz="2100" b="1"/>
            </a:lvl4pPr>
            <a:lvl5pPr marL="2438888" indent="0">
              <a:buNone/>
              <a:defRPr sz="2100" b="1"/>
            </a:lvl5pPr>
            <a:lvl6pPr marL="3048610" indent="0">
              <a:buNone/>
              <a:defRPr sz="2100" b="1"/>
            </a:lvl6pPr>
            <a:lvl7pPr marL="3658332" indent="0">
              <a:buNone/>
              <a:defRPr sz="2100" b="1"/>
            </a:lvl7pPr>
            <a:lvl8pPr marL="4268053" indent="0">
              <a:buNone/>
              <a:defRPr sz="2100" b="1"/>
            </a:lvl8pPr>
            <a:lvl9pPr marL="4877775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4980" y="1414472"/>
            <a:ext cx="5688000" cy="4689714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D96889-B02B-46F6-90F4-5321315CCA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71216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D96889-B02B-46F6-90F4-5321315CCA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06211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D96889-B02B-46F6-90F4-5321315CCA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13250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6"/>
          <p:cNvSpPr/>
          <p:nvPr/>
        </p:nvSpPr>
        <p:spPr>
          <a:xfrm>
            <a:off x="0" y="590263"/>
            <a:ext cx="12193200" cy="56866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8463" y="3152870"/>
            <a:ext cx="6832800" cy="348121"/>
          </a:xfrm>
        </p:spPr>
        <p:txBody>
          <a:bodyPr anchor="t">
            <a:noAutofit/>
          </a:bodyPr>
          <a:lstStyle>
            <a:lvl1pPr algn="ctr">
              <a:lnSpc>
                <a:spcPct val="100000"/>
              </a:lnSpc>
              <a:defRPr sz="1500" b="0" cap="all">
                <a:solidFill>
                  <a:srgbClr val="075B7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98465" y="1691608"/>
            <a:ext cx="6831473" cy="945487"/>
          </a:xfrm>
        </p:spPr>
        <p:txBody>
          <a:bodyPr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D48127"/>
                </a:solidFill>
              </a:defRPr>
            </a:lvl1pPr>
            <a:lvl2pPr marL="609722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444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916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888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861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8332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805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7775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D96889-B02B-46F6-90F4-5321315CCA4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398463" y="3536246"/>
            <a:ext cx="6832800" cy="349119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5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 hasCustomPrompt="1"/>
          </p:nvPr>
        </p:nvSpPr>
        <p:spPr>
          <a:xfrm>
            <a:off x="7628400" y="590263"/>
            <a:ext cx="4564800" cy="5686683"/>
          </a:xfrm>
        </p:spPr>
        <p:txBody>
          <a:bodyPr/>
          <a:lstStyle/>
          <a:p>
            <a:r>
              <a:rPr lang="sv-SE" dirty="0" err="1"/>
              <a:t>Click</a:t>
            </a:r>
            <a:r>
              <a:rPr lang="sv-SE" dirty="0"/>
              <a:t> on </a:t>
            </a:r>
            <a:r>
              <a:rPr lang="sv-SE" dirty="0" err="1"/>
              <a:t>icon</a:t>
            </a:r>
            <a:r>
              <a:rPr lang="sv-SE" dirty="0"/>
              <a:t> to </a:t>
            </a:r>
            <a:r>
              <a:rPr lang="sv-SE" dirty="0" err="1"/>
              <a:t>add</a:t>
            </a:r>
            <a:r>
              <a:rPr lang="sv-SE" dirty="0"/>
              <a:t> </a:t>
            </a:r>
            <a:r>
              <a:rPr lang="sv-SE" dirty="0" err="1"/>
              <a:t>picture</a:t>
            </a:r>
            <a:r>
              <a:rPr lang="sv-SE" dirty="0"/>
              <a:t> or </a:t>
            </a:r>
            <a:r>
              <a:rPr lang="sv-SE" dirty="0" err="1"/>
              <a:t>use</a:t>
            </a:r>
            <a:r>
              <a:rPr lang="sv-SE" dirty="0"/>
              <a:t> Swedish Match Image </a:t>
            </a:r>
            <a:r>
              <a:rPr lang="sv-SE" dirty="0" err="1"/>
              <a:t>library</a:t>
            </a:r>
            <a:r>
              <a:rPr lang="sv-SE" dirty="0"/>
              <a:t> </a:t>
            </a:r>
            <a:r>
              <a:rPr lang="sv-SE" dirty="0" err="1"/>
              <a:t>butt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906091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White Header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6"/>
          <p:cNvSpPr/>
          <p:nvPr/>
        </p:nvSpPr>
        <p:spPr>
          <a:xfrm>
            <a:off x="-1" y="590263"/>
            <a:ext cx="12195175" cy="56866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D96889-B02B-46F6-90F4-5321315CCA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100576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White numbered list and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6"/>
          <p:cNvSpPr/>
          <p:nvPr/>
        </p:nvSpPr>
        <p:spPr>
          <a:xfrm>
            <a:off x="0" y="590263"/>
            <a:ext cx="12193200" cy="56866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52000" indent="-252000">
              <a:buFont typeface="+mj-lt"/>
              <a:buAutoNum type="arabicPeriod"/>
              <a:defRPr/>
            </a:lvl1pPr>
            <a:lvl2pPr marL="504000" indent="-216000">
              <a:buFont typeface="Arial" panose="020B0604020202020204" pitchFamily="34" charset="0"/>
              <a:buChar char="-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D96889-B02B-46F6-90F4-5321315CCA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390562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Header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6"/>
          <p:cNvSpPr/>
          <p:nvPr/>
        </p:nvSpPr>
        <p:spPr>
          <a:xfrm>
            <a:off x="-1" y="590263"/>
            <a:ext cx="12195175" cy="56866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D96889-B02B-46F6-90F4-5321315CCA4E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85200" y="1413243"/>
            <a:ext cx="11516400" cy="1223853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4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385199" y="838606"/>
            <a:ext cx="11516400" cy="50264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/>
              <a:t>Heading 2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385200" y="2709088"/>
            <a:ext cx="11516400" cy="503883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400"/>
            </a:lvl1pPr>
          </a:lstStyle>
          <a:p>
            <a:pPr lvl="0"/>
            <a:r>
              <a:rPr lang="en-US" dirty="0"/>
              <a:t>Heading 3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385200" y="3314486"/>
            <a:ext cx="11516400" cy="278719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4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5884704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6"/>
          <p:cNvSpPr/>
          <p:nvPr/>
        </p:nvSpPr>
        <p:spPr>
          <a:xfrm>
            <a:off x="-1" y="590263"/>
            <a:ext cx="12195175" cy="56866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D96889-B02B-46F6-90F4-5321315CCA4E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sz="half" idx="1"/>
          </p:nvPr>
        </p:nvSpPr>
        <p:spPr>
          <a:xfrm>
            <a:off x="385200" y="838606"/>
            <a:ext cx="5568371" cy="525838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6199215" y="838606"/>
            <a:ext cx="5687986" cy="525838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77535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Comparison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6"/>
          <p:cNvSpPr/>
          <p:nvPr/>
        </p:nvSpPr>
        <p:spPr>
          <a:xfrm>
            <a:off x="-1" y="590263"/>
            <a:ext cx="12195175" cy="56866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D96889-B02B-46F6-90F4-5321315CCA4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385200" y="838606"/>
            <a:ext cx="5569200" cy="454060"/>
          </a:xfrm>
        </p:spPr>
        <p:txBody>
          <a:bodyPr anchor="ctr">
            <a:noAutofit/>
          </a:bodyPr>
          <a:lstStyle>
            <a:lvl1pPr marL="0" indent="0">
              <a:buNone/>
              <a:defRPr sz="1800" b="1"/>
            </a:lvl1pPr>
            <a:lvl2pPr marL="609722" indent="0">
              <a:buNone/>
              <a:defRPr sz="2700" b="1"/>
            </a:lvl2pPr>
            <a:lvl3pPr marL="1219444" indent="0">
              <a:buNone/>
              <a:defRPr sz="2400" b="1"/>
            </a:lvl3pPr>
            <a:lvl4pPr marL="1829166" indent="0">
              <a:buNone/>
              <a:defRPr sz="2100" b="1"/>
            </a:lvl4pPr>
            <a:lvl5pPr marL="2438888" indent="0">
              <a:buNone/>
              <a:defRPr sz="2100" b="1"/>
            </a:lvl5pPr>
            <a:lvl6pPr marL="3048610" indent="0">
              <a:buNone/>
              <a:defRPr sz="2100" b="1"/>
            </a:lvl6pPr>
            <a:lvl7pPr marL="3658332" indent="0">
              <a:buNone/>
              <a:defRPr sz="2100" b="1"/>
            </a:lvl7pPr>
            <a:lvl8pPr marL="4268053" indent="0">
              <a:buNone/>
              <a:defRPr sz="2100" b="1"/>
            </a:lvl8pPr>
            <a:lvl9pPr marL="4877775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half" idx="2"/>
          </p:nvPr>
        </p:nvSpPr>
        <p:spPr>
          <a:xfrm>
            <a:off x="385200" y="1413244"/>
            <a:ext cx="5569200" cy="468843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9199" y="838606"/>
            <a:ext cx="5688000" cy="453495"/>
          </a:xfrm>
        </p:spPr>
        <p:txBody>
          <a:bodyPr anchor="ctr">
            <a:noAutofit/>
          </a:bodyPr>
          <a:lstStyle>
            <a:lvl1pPr marL="0" indent="0">
              <a:buNone/>
              <a:defRPr sz="1800" b="1"/>
            </a:lvl1pPr>
            <a:lvl2pPr marL="609722" indent="0">
              <a:buNone/>
              <a:defRPr sz="2700" b="1"/>
            </a:lvl2pPr>
            <a:lvl3pPr marL="1219444" indent="0">
              <a:buNone/>
              <a:defRPr sz="2400" b="1"/>
            </a:lvl3pPr>
            <a:lvl4pPr marL="1829166" indent="0">
              <a:buNone/>
              <a:defRPr sz="2100" b="1"/>
            </a:lvl4pPr>
            <a:lvl5pPr marL="2438888" indent="0">
              <a:buNone/>
              <a:defRPr sz="2100" b="1"/>
            </a:lvl5pPr>
            <a:lvl6pPr marL="3048610" indent="0">
              <a:buNone/>
              <a:defRPr sz="2100" b="1"/>
            </a:lvl6pPr>
            <a:lvl7pPr marL="3658332" indent="0">
              <a:buNone/>
              <a:defRPr sz="2100" b="1"/>
            </a:lvl7pPr>
            <a:lvl8pPr marL="4268053" indent="0">
              <a:buNone/>
              <a:defRPr sz="2100" b="1"/>
            </a:lvl8pPr>
            <a:lvl9pPr marL="4877775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5"/>
          <p:cNvSpPr>
            <a:spLocks noGrp="1"/>
          </p:cNvSpPr>
          <p:nvPr>
            <p:ph sz="quarter" idx="4"/>
          </p:nvPr>
        </p:nvSpPr>
        <p:spPr>
          <a:xfrm>
            <a:off x="6194980" y="1414472"/>
            <a:ext cx="5688000" cy="4689714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57186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White 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6"/>
          <p:cNvSpPr/>
          <p:nvPr/>
        </p:nvSpPr>
        <p:spPr>
          <a:xfrm>
            <a:off x="0" y="590263"/>
            <a:ext cx="12193200" cy="56866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D96889-B02B-46F6-90F4-5321315CCA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34567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itle Slide 1 without vi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277260"/>
          </a:xfrm>
          <a:solidFill>
            <a:schemeClr val="bg1"/>
          </a:solidFill>
        </p:spPr>
        <p:txBody>
          <a:bodyPr/>
          <a:lstStyle>
            <a:lvl1pPr marL="90000" indent="0">
              <a:buNone/>
              <a:defRPr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13399" y="579600"/>
            <a:ext cx="6791136" cy="509852"/>
          </a:xfrm>
        </p:spPr>
        <p:txBody>
          <a:bodyPr anchor="b" anchorCtr="0">
            <a:noAutofit/>
          </a:bodyPr>
          <a:lstStyle>
            <a:lvl1pPr algn="r">
              <a:lnSpc>
                <a:spcPct val="100000"/>
              </a:lnSpc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4300" y="1107882"/>
            <a:ext cx="6789600" cy="511082"/>
          </a:xfrm>
        </p:spPr>
        <p:txBody>
          <a:bodyPr>
            <a:noAutofit/>
          </a:bodyPr>
          <a:lstStyle>
            <a:lvl1pPr marL="0" indent="0" algn="r">
              <a:buNone/>
              <a:defRPr sz="2800" b="0" cap="all" baseline="0">
                <a:solidFill>
                  <a:srgbClr val="D48127"/>
                </a:solidFill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insert 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D96889-B02B-46F6-90F4-5321315CCA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37901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/>
          <p:nvPr/>
        </p:nvSpPr>
        <p:spPr>
          <a:xfrm>
            <a:off x="-1" y="590263"/>
            <a:ext cx="12195175" cy="56866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D96889-B02B-46F6-90F4-5321315CCA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12100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without bor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9DD96889-B02B-46F6-90F4-5321315CCA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411764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5587" y="3882210"/>
            <a:ext cx="8784000" cy="874526"/>
          </a:xfrm>
        </p:spPr>
        <p:txBody>
          <a:bodyPr anchor="t">
            <a:noAutofit/>
          </a:bodyPr>
          <a:lstStyle>
            <a:lvl1pPr algn="ctr">
              <a:lnSpc>
                <a:spcPct val="100000"/>
              </a:lnSpc>
              <a:defRPr sz="2800" b="0" cap="none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05587" y="3023874"/>
            <a:ext cx="8784000" cy="810252"/>
          </a:xfrm>
        </p:spPr>
        <p:txBody>
          <a:bodyPr anchor="t">
            <a:noAutofit/>
          </a:bodyPr>
          <a:lstStyle>
            <a:lvl1pPr marL="0" indent="0" algn="ctr">
              <a:spcBef>
                <a:spcPts val="0"/>
              </a:spcBef>
              <a:buNone/>
              <a:defRPr sz="3200" b="0" cap="all" baseline="0">
                <a:solidFill>
                  <a:schemeClr val="bg1"/>
                </a:solidFill>
              </a:defRPr>
            </a:lvl1pPr>
            <a:lvl2pPr marL="609722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444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916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888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861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8332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805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7775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D96889-B02B-46F6-90F4-5321315CCA4E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 descr="SM" title="SM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200" y="6420913"/>
            <a:ext cx="1504676" cy="236869"/>
          </a:xfrm>
          <a:prstGeom prst="rect">
            <a:avLst/>
          </a:prstGeom>
        </p:spPr>
      </p:pic>
      <p:pic>
        <p:nvPicPr>
          <p:cNvPr id="8" name="Picture 7" descr="SMDAB" hidden="1" title="SMDAB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200" y="6422400"/>
            <a:ext cx="1918847" cy="237600"/>
          </a:xfrm>
          <a:prstGeom prst="rect">
            <a:avLst/>
          </a:prstGeom>
        </p:spPr>
      </p:pic>
      <p:pic>
        <p:nvPicPr>
          <p:cNvPr id="9" name="Picture 8" descr="SMD" hidden="1" title="SMD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200" y="6422400"/>
            <a:ext cx="1918847" cy="23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948373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589260"/>
            <a:ext cx="12193200" cy="5688000"/>
          </a:xfrm>
          <a:solidFill>
            <a:schemeClr val="bg1"/>
          </a:solidFill>
        </p:spPr>
        <p:txBody>
          <a:bodyPr/>
          <a:lstStyle>
            <a:lvl1pPr marL="90000" indent="0">
              <a:buNone/>
              <a:defRPr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05499" y="903391"/>
            <a:ext cx="6791136" cy="509852"/>
          </a:xfrm>
        </p:spPr>
        <p:txBody>
          <a:bodyPr anchor="b" anchorCtr="0">
            <a:noAutofit/>
          </a:bodyPr>
          <a:lstStyle>
            <a:lvl1pPr algn="r">
              <a:lnSpc>
                <a:spcPct val="100000"/>
              </a:lnSpc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06400" y="1432081"/>
            <a:ext cx="6789600" cy="511082"/>
          </a:xfrm>
        </p:spPr>
        <p:txBody>
          <a:bodyPr>
            <a:noAutofit/>
          </a:bodyPr>
          <a:lstStyle>
            <a:lvl1pPr marL="0" indent="0" algn="r">
              <a:buNone/>
              <a:defRPr sz="2800" b="0" cap="all" baseline="0">
                <a:solidFill>
                  <a:srgbClr val="D48127"/>
                </a:solidFill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insert 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YY.MM.DD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D96889-B02B-46F6-90F4-5321315CCA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28429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2 with vi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AB49864-F576-4D4E-A553-672C1F5DE038}"/>
              </a:ext>
            </a:extLst>
          </p:cNvPr>
          <p:cNvSpPr/>
          <p:nvPr userDrawn="1"/>
        </p:nvSpPr>
        <p:spPr>
          <a:xfrm>
            <a:off x="-1" y="1"/>
            <a:ext cx="12195175" cy="6865648"/>
          </a:xfrm>
          <a:prstGeom prst="rect">
            <a:avLst/>
          </a:prstGeom>
          <a:gradFill flip="none" rotWithShape="1">
            <a:gsLst>
              <a:gs pos="30000">
                <a:schemeClr val="accent1"/>
              </a:gs>
              <a:gs pos="100000">
                <a:srgbClr val="66A1B5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2054430"/>
            <a:ext cx="12193200" cy="4227073"/>
          </a:xfrm>
          <a:solidFill>
            <a:schemeClr val="bg1"/>
          </a:solidFill>
        </p:spPr>
        <p:txBody>
          <a:bodyPr/>
          <a:lstStyle>
            <a:lvl1pPr marL="90000" indent="0">
              <a:buNone/>
              <a:defRPr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14235" y="579600"/>
            <a:ext cx="8784000" cy="511082"/>
          </a:xfrm>
        </p:spPr>
        <p:txBody>
          <a:bodyPr anchor="t" anchorCtr="0">
            <a:noAutofit/>
          </a:bodyPr>
          <a:lstStyle>
            <a:lvl1pPr algn="r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14235" y="1105574"/>
            <a:ext cx="8784000" cy="511082"/>
          </a:xfrm>
        </p:spPr>
        <p:txBody>
          <a:bodyPr>
            <a:noAutofit/>
          </a:bodyPr>
          <a:lstStyle>
            <a:lvl1pPr marL="0" indent="0" algn="r">
              <a:buNone/>
              <a:defRPr sz="2800" b="0" cap="all" baseline="0">
                <a:solidFill>
                  <a:srgbClr val="D48127"/>
                </a:solidFill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11" descr="SM" title="SM">
            <a:extLst>
              <a:ext uri="{FF2B5EF4-FFF2-40B4-BE49-F238E27FC236}">
                <a16:creationId xmlns:a16="http://schemas.microsoft.com/office/drawing/2014/main" id="{5046EA65-E0DE-4248-8265-0542050921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200" y="6420913"/>
            <a:ext cx="1504676" cy="23686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38D0088-DBFA-4958-8D92-9DF99BE3809A}"/>
              </a:ext>
            </a:extLst>
          </p:cNvPr>
          <p:cNvSpPr txBox="1"/>
          <p:nvPr userDrawn="1"/>
        </p:nvSpPr>
        <p:spPr>
          <a:xfrm>
            <a:off x="8070100" y="6409990"/>
            <a:ext cx="3733800" cy="34641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indent="0" algn="r">
              <a:buClr>
                <a:schemeClr val="accent3"/>
              </a:buClr>
              <a:buFont typeface="Courier New" panose="02070309020205020404" pitchFamily="49" charset="0"/>
              <a:buNone/>
            </a:pPr>
            <a:r>
              <a:rPr lang="sv-SE" sz="1600" dirty="0">
                <a:solidFill>
                  <a:schemeClr val="bg1"/>
                </a:solidFill>
              </a:rPr>
              <a:t>A WORLD WITHOUT CIGARETTES</a:t>
            </a:r>
            <a:endParaRPr lang="en-GB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25628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2 without vi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AB49864-F576-4D4E-A553-672C1F5DE038}"/>
              </a:ext>
            </a:extLst>
          </p:cNvPr>
          <p:cNvSpPr/>
          <p:nvPr userDrawn="1"/>
        </p:nvSpPr>
        <p:spPr>
          <a:xfrm>
            <a:off x="-1" y="1"/>
            <a:ext cx="12195175" cy="6865648"/>
          </a:xfrm>
          <a:prstGeom prst="rect">
            <a:avLst/>
          </a:prstGeom>
          <a:gradFill flip="none" rotWithShape="1">
            <a:gsLst>
              <a:gs pos="30000">
                <a:schemeClr val="accent1"/>
              </a:gs>
              <a:gs pos="100000">
                <a:srgbClr val="66A1B5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2054430"/>
            <a:ext cx="12193200" cy="4227073"/>
          </a:xfrm>
          <a:solidFill>
            <a:schemeClr val="bg1"/>
          </a:solidFill>
        </p:spPr>
        <p:txBody>
          <a:bodyPr/>
          <a:lstStyle>
            <a:lvl1pPr marL="90000" indent="0">
              <a:buNone/>
              <a:defRPr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14235" y="579600"/>
            <a:ext cx="8784000" cy="511082"/>
          </a:xfrm>
        </p:spPr>
        <p:txBody>
          <a:bodyPr anchor="t" anchorCtr="0">
            <a:noAutofit/>
          </a:bodyPr>
          <a:lstStyle>
            <a:lvl1pPr algn="r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14235" y="1105574"/>
            <a:ext cx="8784000" cy="511082"/>
          </a:xfrm>
        </p:spPr>
        <p:txBody>
          <a:bodyPr>
            <a:noAutofit/>
          </a:bodyPr>
          <a:lstStyle>
            <a:lvl1pPr marL="0" indent="0" algn="r">
              <a:buNone/>
              <a:defRPr sz="2800" b="0" cap="all" baseline="0">
                <a:solidFill>
                  <a:srgbClr val="D48127"/>
                </a:solidFill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D96889-B02B-46F6-90F4-5321315CCA4E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11" descr="SM" title="SM">
            <a:extLst>
              <a:ext uri="{FF2B5EF4-FFF2-40B4-BE49-F238E27FC236}">
                <a16:creationId xmlns:a16="http://schemas.microsoft.com/office/drawing/2014/main" id="{5046EA65-E0DE-4248-8265-0542050921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200" y="6420913"/>
            <a:ext cx="1504676" cy="236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3427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diant 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8463" y="3152870"/>
            <a:ext cx="6832800" cy="348121"/>
          </a:xfrm>
        </p:spPr>
        <p:txBody>
          <a:bodyPr anchor="t">
            <a:noAutofit/>
          </a:bodyPr>
          <a:lstStyle>
            <a:lvl1pPr algn="ctr">
              <a:lnSpc>
                <a:spcPct val="100000"/>
              </a:lnSpc>
              <a:defRPr sz="1500" b="0" cap="all">
                <a:solidFill>
                  <a:srgbClr val="075B7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98465" y="1691608"/>
            <a:ext cx="6831473" cy="945487"/>
          </a:xfrm>
        </p:spPr>
        <p:txBody>
          <a:bodyPr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rgbClr val="D48127"/>
                </a:solidFill>
              </a:defRPr>
            </a:lvl1pPr>
            <a:lvl2pPr marL="609722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444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916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888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861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8332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805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7775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D96889-B02B-46F6-90F4-5321315CCA4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398463" y="3536246"/>
            <a:ext cx="6832800" cy="349119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5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 hasCustomPrompt="1"/>
          </p:nvPr>
        </p:nvSpPr>
        <p:spPr>
          <a:xfrm>
            <a:off x="7628400" y="591330"/>
            <a:ext cx="4564800" cy="5688000"/>
          </a:xfrm>
          <a:solidFill>
            <a:schemeClr val="bg1"/>
          </a:solidFill>
        </p:spPr>
        <p:txBody>
          <a:bodyPr/>
          <a:lstStyle/>
          <a:p>
            <a:r>
              <a:rPr lang="sv-SE" dirty="0" err="1"/>
              <a:t>Click</a:t>
            </a:r>
            <a:r>
              <a:rPr lang="sv-SE" dirty="0"/>
              <a:t> on </a:t>
            </a:r>
            <a:r>
              <a:rPr lang="sv-SE" dirty="0" err="1"/>
              <a:t>icon</a:t>
            </a:r>
            <a:r>
              <a:rPr lang="sv-SE" dirty="0"/>
              <a:t> to </a:t>
            </a:r>
            <a:r>
              <a:rPr lang="sv-SE" dirty="0" err="1"/>
              <a:t>add</a:t>
            </a:r>
            <a:r>
              <a:rPr lang="sv-SE" dirty="0"/>
              <a:t> </a:t>
            </a:r>
            <a:r>
              <a:rPr lang="sv-SE" dirty="0" err="1"/>
              <a:t>picture</a:t>
            </a:r>
            <a:r>
              <a:rPr lang="sv-SE" dirty="0"/>
              <a:t> or </a:t>
            </a:r>
            <a:r>
              <a:rPr lang="sv-SE" dirty="0" err="1"/>
              <a:t>use</a:t>
            </a:r>
            <a:r>
              <a:rPr lang="sv-SE" dirty="0"/>
              <a:t> Swedish Match Image </a:t>
            </a:r>
            <a:r>
              <a:rPr lang="sv-SE" dirty="0" err="1"/>
              <a:t>library</a:t>
            </a:r>
            <a:r>
              <a:rPr lang="sv-SE" dirty="0"/>
              <a:t> </a:t>
            </a:r>
            <a:r>
              <a:rPr lang="sv-SE" dirty="0" err="1"/>
              <a:t>butt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27661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eader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D96889-B02B-46F6-90F4-5321315CCA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08308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umbered list and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52000" indent="-252000">
              <a:buFont typeface="+mj-lt"/>
              <a:buAutoNum type="arabicPeriod"/>
              <a:defRPr/>
            </a:lvl1pPr>
            <a:lvl2pPr marL="504000" indent="-216000">
              <a:buFont typeface="Arial" panose="020B0604020202020204" pitchFamily="34" charset="0"/>
              <a:buChar char="-"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D96889-B02B-46F6-90F4-5321315CCA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27470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D96889-B02B-46F6-90F4-5321315CCA4E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85200" y="1413243"/>
            <a:ext cx="11516400" cy="1223853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4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385199" y="838606"/>
            <a:ext cx="11516400" cy="50264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/>
              <a:t>Heading 2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385200" y="2709088"/>
            <a:ext cx="11516400" cy="503883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400"/>
            </a:lvl1pPr>
          </a:lstStyle>
          <a:p>
            <a:pPr lvl="0"/>
            <a:r>
              <a:rPr lang="en-US" dirty="0"/>
              <a:t>Heading 3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385200" y="3314486"/>
            <a:ext cx="11516400" cy="278719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4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213909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5200" y="838606"/>
            <a:ext cx="5568371" cy="525838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9215" y="838606"/>
            <a:ext cx="5687986" cy="525838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D96889-B02B-46F6-90F4-5321315CCA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76902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-1" y="1"/>
            <a:ext cx="12195175" cy="6865648"/>
          </a:xfrm>
          <a:prstGeom prst="rect">
            <a:avLst/>
          </a:prstGeom>
          <a:gradFill flip="none" rotWithShape="1">
            <a:gsLst>
              <a:gs pos="30000">
                <a:schemeClr val="accent1"/>
              </a:gs>
              <a:gs pos="100000">
                <a:srgbClr val="66A1B5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E0173801-409B-497D-B437-A4DF2F0B0CD3}"/>
              </a:ext>
            </a:extLst>
          </p:cNvPr>
          <p:cNvSpPr/>
          <p:nvPr userDrawn="1"/>
        </p:nvSpPr>
        <p:spPr>
          <a:xfrm>
            <a:off x="3592" y="590263"/>
            <a:ext cx="12195176" cy="5686683"/>
          </a:xfrm>
          <a:prstGeom prst="rect">
            <a:avLst/>
          </a:prstGeom>
          <a:gradFill>
            <a:gsLst>
              <a:gs pos="65000">
                <a:schemeClr val="bg1">
                  <a:lumMod val="0"/>
                  <a:lumOff val="100000"/>
                </a:schemeClr>
              </a:gs>
              <a:gs pos="100000">
                <a:srgbClr val="B4C6CF">
                  <a:lumMod val="95000"/>
                  <a:lumOff val="5000"/>
                </a:srgb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4400" y="222229"/>
            <a:ext cx="11516400" cy="434029"/>
          </a:xfrm>
          <a:prstGeom prst="rect">
            <a:avLst/>
          </a:prstGeom>
        </p:spPr>
        <p:txBody>
          <a:bodyPr vert="horz" lIns="121944" tIns="60972" rIns="121944" bIns="60972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5200" y="838606"/>
            <a:ext cx="11516400" cy="5258382"/>
          </a:xfrm>
          <a:prstGeom prst="rect">
            <a:avLst/>
          </a:prstGeom>
        </p:spPr>
        <p:txBody>
          <a:bodyPr vert="horz" lIns="121944" tIns="60972" rIns="121944" bIns="60972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625979" y="6486496"/>
            <a:ext cx="1728296" cy="249362"/>
          </a:xfrm>
          <a:prstGeom prst="rect">
            <a:avLst/>
          </a:prstGeom>
        </p:spPr>
        <p:txBody>
          <a:bodyPr vert="horz" lIns="0" tIns="60972" rIns="0" bIns="60972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948717" y="6487480"/>
            <a:ext cx="6297744" cy="248378"/>
          </a:xfrm>
          <a:prstGeom prst="rect">
            <a:avLst/>
          </a:prstGeom>
        </p:spPr>
        <p:txBody>
          <a:bodyPr vert="horz" lIns="121944" tIns="60972" rIns="121944" bIns="60972" rtlCol="0" anchor="ctr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55655" y="6483916"/>
            <a:ext cx="360000" cy="251942"/>
          </a:xfrm>
          <a:prstGeom prst="rect">
            <a:avLst/>
          </a:prstGeom>
        </p:spPr>
        <p:txBody>
          <a:bodyPr vert="horz" lIns="0" tIns="60972" rIns="0" bIns="60972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9DD96889-B02B-46F6-90F4-5321315CCA4E}" type="slidenum">
              <a:rPr lang="en-US" smtClean="0"/>
              <a:t>‹#›</a:t>
            </a:fld>
            <a:endParaRPr lang="en-US"/>
          </a:p>
        </p:txBody>
      </p:sp>
      <p:pic>
        <p:nvPicPr>
          <p:cNvPr id="12" name="Picture 11" descr="SM" title="SM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200" y="6420913"/>
            <a:ext cx="1504676" cy="236869"/>
          </a:xfrm>
          <a:prstGeom prst="rect">
            <a:avLst/>
          </a:prstGeom>
        </p:spPr>
      </p:pic>
      <p:pic>
        <p:nvPicPr>
          <p:cNvPr id="9" name="Picture 8" descr="SMDAB" hidden="1" title="SMDAB"/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200" y="6422400"/>
            <a:ext cx="1918847" cy="237600"/>
          </a:xfrm>
          <a:prstGeom prst="rect">
            <a:avLst/>
          </a:prstGeom>
        </p:spPr>
      </p:pic>
      <p:pic>
        <p:nvPicPr>
          <p:cNvPr id="10" name="Picture 9" descr="SMD" hidden="1" title="SMD"/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200" y="6422400"/>
            <a:ext cx="1918847" cy="23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3143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95" r:id="rId2"/>
    <p:sldLayoutId id="2147483674" r:id="rId3"/>
    <p:sldLayoutId id="2147483696" r:id="rId4"/>
    <p:sldLayoutId id="2147483675" r:id="rId5"/>
    <p:sldLayoutId id="2147483676" r:id="rId6"/>
    <p:sldLayoutId id="2147483677" r:id="rId7"/>
    <p:sldLayoutId id="2147483679" r:id="rId8"/>
    <p:sldLayoutId id="2147483680" r:id="rId9"/>
    <p:sldLayoutId id="2147483681" r:id="rId10"/>
    <p:sldLayoutId id="2147483682" r:id="rId11"/>
    <p:sldLayoutId id="2147483683" r:id="rId12"/>
    <p:sldLayoutId id="2147483684" r:id="rId13"/>
    <p:sldLayoutId id="2147483685" r:id="rId14"/>
    <p:sldLayoutId id="2147483686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7" r:id="rId23"/>
  </p:sldLayoutIdLst>
  <p:hf sldNum="0" hdr="0" ftr="0" dt="0"/>
  <p:txStyles>
    <p:titleStyle>
      <a:lvl1pPr algn="l" defTabSz="1219444" rtl="0" eaLnBrk="1" latinLnBrk="0" hangingPunct="1">
        <a:lnSpc>
          <a:spcPct val="80000"/>
        </a:lnSpc>
        <a:spcBef>
          <a:spcPct val="0"/>
        </a:spcBef>
        <a:buNone/>
        <a:defRPr sz="2000" kern="1200" cap="all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1219444" rtl="0" eaLnBrk="1" latinLnBrk="0" hangingPunct="1">
        <a:spcBef>
          <a:spcPct val="20000"/>
        </a:spcBef>
        <a:spcAft>
          <a:spcPts val="600"/>
        </a:spcAft>
        <a:buClr>
          <a:srgbClr val="D48127"/>
        </a:buClr>
        <a:buSzPct val="100000"/>
        <a:buFont typeface="Courier New" panose="02070309020205020404" pitchFamily="49" charset="0"/>
        <a:buChar char="o"/>
        <a:defRPr sz="1800" b="1" kern="1200">
          <a:solidFill>
            <a:srgbClr val="075B79"/>
          </a:solidFill>
          <a:latin typeface="+mn-lt"/>
          <a:ea typeface="+mn-ea"/>
          <a:cs typeface="+mn-cs"/>
        </a:defRPr>
      </a:lvl1pPr>
      <a:lvl2pPr marL="504000" indent="-216000" algn="l" defTabSz="1219444" rtl="0" eaLnBrk="1" latinLnBrk="0" hangingPunct="1">
        <a:spcBef>
          <a:spcPts val="360"/>
        </a:spcBef>
        <a:spcAft>
          <a:spcPts val="600"/>
        </a:spcAft>
        <a:buClr>
          <a:srgbClr val="D48127"/>
        </a:buClr>
        <a:buSzPct val="150000"/>
        <a:buFont typeface="Arial" panose="020B0604020202020204" pitchFamily="34" charset="0"/>
        <a:buChar char="-"/>
        <a:defRPr sz="1800" b="1" kern="1200">
          <a:solidFill>
            <a:srgbClr val="075B79"/>
          </a:solidFill>
          <a:latin typeface="+mn-lt"/>
          <a:ea typeface="+mn-ea"/>
          <a:cs typeface="+mn-cs"/>
        </a:defRPr>
      </a:lvl2pPr>
      <a:lvl3pPr marL="720000" indent="-216000" algn="l" defTabSz="1219444" rtl="0" eaLnBrk="1" latinLnBrk="0" hangingPunct="1">
        <a:spcBef>
          <a:spcPts val="312"/>
        </a:spcBef>
        <a:spcAft>
          <a:spcPts val="600"/>
        </a:spcAft>
        <a:buClr>
          <a:srgbClr val="D48127"/>
        </a:buClr>
        <a:buSzPct val="150000"/>
        <a:buFont typeface="Arial" panose="020B0604020202020204" pitchFamily="34" charset="0"/>
        <a:buChar char="-"/>
        <a:defRPr sz="1800" kern="1200">
          <a:solidFill>
            <a:srgbClr val="075B79"/>
          </a:solidFill>
          <a:latin typeface="+mn-lt"/>
          <a:ea typeface="+mn-ea"/>
          <a:cs typeface="+mn-cs"/>
        </a:defRPr>
      </a:lvl3pPr>
      <a:lvl4pPr marL="936000" indent="-216000" algn="l" defTabSz="1219444" rtl="0" eaLnBrk="1" latinLnBrk="0" hangingPunct="1">
        <a:spcBef>
          <a:spcPts val="264"/>
        </a:spcBef>
        <a:spcAft>
          <a:spcPts val="600"/>
        </a:spcAft>
        <a:buClr>
          <a:srgbClr val="D48127"/>
        </a:buClr>
        <a:buSzPct val="150000"/>
        <a:buFont typeface="Arial" panose="020B0604020202020204" pitchFamily="34" charset="0"/>
        <a:buChar char="-"/>
        <a:defRPr sz="1600" kern="1200">
          <a:solidFill>
            <a:srgbClr val="075B79"/>
          </a:solidFill>
          <a:latin typeface="+mn-lt"/>
          <a:ea typeface="+mn-ea"/>
          <a:cs typeface="+mn-cs"/>
        </a:defRPr>
      </a:lvl4pPr>
      <a:lvl5pPr marL="1152000" indent="-216000" algn="l" defTabSz="1219444" rtl="0" eaLnBrk="1" latinLnBrk="0" hangingPunct="1">
        <a:spcBef>
          <a:spcPts val="264"/>
        </a:spcBef>
        <a:spcAft>
          <a:spcPts val="600"/>
        </a:spcAft>
        <a:buClr>
          <a:srgbClr val="D48127"/>
        </a:buClr>
        <a:buSzPct val="150000"/>
        <a:buFont typeface="Arial" panose="020B0604020202020204" pitchFamily="34" charset="0"/>
        <a:buChar char="-"/>
        <a:defRPr sz="1600" kern="1200">
          <a:solidFill>
            <a:srgbClr val="075B79"/>
          </a:solidFill>
          <a:latin typeface="+mn-lt"/>
          <a:ea typeface="+mn-ea"/>
          <a:cs typeface="+mn-cs"/>
        </a:defRPr>
      </a:lvl5pPr>
      <a:lvl6pPr marL="3353471" indent="-304861" algn="l" defTabSz="1219444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3192" indent="-304861" algn="l" defTabSz="1219444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2914" indent="-304861" algn="l" defTabSz="1219444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2636" indent="-304861" algn="l" defTabSz="1219444" rtl="0" eaLnBrk="1" latinLnBrk="0" hangingPunct="1">
        <a:spcBef>
          <a:spcPct val="2000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2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444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166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888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61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33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053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775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file:///C:\ProgramData\Bildbank\Title%20slide\18.png" TargetMode="Externa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slideLayout" Target="../slideLayouts/slideLayout19.xml"/><Relationship Id="rId7" Type="http://schemas.openxmlformats.org/officeDocument/2006/relationships/chart" Target="../charts/chart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jpeg"/><Relationship Id="rId9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1.xml"/><Relationship Id="rId6" Type="http://schemas.openxmlformats.org/officeDocument/2006/relationships/image" Target="../media/image14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2">
            <a:extLst>
              <a:ext uri="{FF2B5EF4-FFF2-40B4-BE49-F238E27FC236}">
                <a16:creationId xmlns:a16="http://schemas.microsoft.com/office/drawing/2014/main" id="{948248BC-9A77-4CD5-B47C-4ED2FD9351E8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77" b="3777"/>
          <a:stretch>
            <a:fillRect/>
          </a:stretch>
        </p:blipFill>
        <p:spPr>
          <a:xfrm>
            <a:off x="0" y="568712"/>
            <a:ext cx="12193587" cy="5742878"/>
          </a:xfrm>
        </p:spPr>
      </p:pic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81023" y="57630"/>
            <a:ext cx="6487268" cy="511082"/>
          </a:xfrm>
        </p:spPr>
        <p:txBody>
          <a:bodyPr/>
          <a:lstStyle/>
          <a:p>
            <a:r>
              <a:rPr lang="en-US" b="1" i="1" dirty="0"/>
              <a:t>“A WORLD WITHOUT CIGARETTES”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D96889-B02B-46F6-90F4-5321315CCA4E}" type="slidenum">
              <a:rPr lang="en-US" smtClean="0"/>
              <a:t>1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3F19DA4-9230-44A8-B298-3F28133B714E}"/>
              </a:ext>
            </a:extLst>
          </p:cNvPr>
          <p:cNvSpPr txBox="1"/>
          <p:nvPr/>
        </p:nvSpPr>
        <p:spPr>
          <a:xfrm>
            <a:off x="625642" y="5348559"/>
            <a:ext cx="4676274" cy="145181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buClr>
                <a:schemeClr val="accent3"/>
              </a:buClr>
            </a:pPr>
            <a:r>
              <a:rPr lang="nb-NO" sz="1600" b="1" dirty="0">
                <a:solidFill>
                  <a:schemeClr val="bg1"/>
                </a:solidFill>
              </a:rPr>
              <a:t>Nils Erlimo</a:t>
            </a:r>
          </a:p>
          <a:p>
            <a:pPr>
              <a:buClr>
                <a:schemeClr val="accent3"/>
              </a:buClr>
            </a:pPr>
            <a:r>
              <a:rPr lang="nb-NO" sz="1600" b="1" dirty="0">
                <a:solidFill>
                  <a:schemeClr val="bg1"/>
                </a:solidFill>
              </a:rPr>
              <a:t>Communications </a:t>
            </a:r>
            <a:r>
              <a:rPr lang="nb-NO" sz="1600" b="1" dirty="0" err="1">
                <a:solidFill>
                  <a:schemeClr val="bg1"/>
                </a:solidFill>
              </a:rPr>
              <a:t>Director</a:t>
            </a:r>
            <a:r>
              <a:rPr lang="nb-NO" sz="1600" b="1" dirty="0">
                <a:solidFill>
                  <a:schemeClr val="bg1"/>
                </a:solidFill>
              </a:rPr>
              <a:t>, Swedish Match</a:t>
            </a:r>
          </a:p>
        </p:txBody>
      </p:sp>
    </p:spTree>
    <p:extLst>
      <p:ext uri="{BB962C8B-B14F-4D97-AF65-F5344CB8AC3E}">
        <p14:creationId xmlns:p14="http://schemas.microsoft.com/office/powerpoint/2010/main" val="380136986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AEDE66-743A-4B81-BE83-2AB4CA0A10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Smoking </a:t>
            </a:r>
            <a:r>
              <a:rPr lang="nb-NO" dirty="0" err="1"/>
              <a:t>comparison</a:t>
            </a:r>
            <a:endParaRPr lang="nb-NO" dirty="0"/>
          </a:p>
        </p:txBody>
      </p:sp>
      <p:graphicFrame>
        <p:nvGraphicFramePr>
          <p:cNvPr id="4" name="Plassholder for innhold 3">
            <a:extLst>
              <a:ext uri="{FF2B5EF4-FFF2-40B4-BE49-F238E27FC236}">
                <a16:creationId xmlns:a16="http://schemas.microsoft.com/office/drawing/2014/main" id="{03B5AC4A-4311-9B4F-8D85-660DBAFF2A4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52541563"/>
              </p:ext>
            </p:extLst>
          </p:nvPr>
        </p:nvGraphicFramePr>
        <p:xfrm>
          <a:off x="385763" y="838200"/>
          <a:ext cx="11515725" cy="52593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45114481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7C361D9-39A4-4E4C-B9DF-585F43D54F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moking in </a:t>
            </a:r>
            <a:r>
              <a:rPr lang="en-GB" dirty="0" err="1"/>
              <a:t>latvia</a:t>
            </a:r>
            <a:endParaRPr lang="en-GB" dirty="0"/>
          </a:p>
        </p:txBody>
      </p:sp>
      <p:graphicFrame>
        <p:nvGraphicFramePr>
          <p:cNvPr id="4" name="Plassholder for innhold 3">
            <a:extLst>
              <a:ext uri="{FF2B5EF4-FFF2-40B4-BE49-F238E27FC236}">
                <a16:creationId xmlns:a16="http://schemas.microsoft.com/office/drawing/2014/main" id="{4B776B25-DDEF-4447-AEC9-38F2CE82E65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83579608"/>
              </p:ext>
            </p:extLst>
          </p:nvPr>
        </p:nvGraphicFramePr>
        <p:xfrm>
          <a:off x="385763" y="656258"/>
          <a:ext cx="11515725" cy="54413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5AA48D39-10E7-4148-ACC9-29280B0F28A6}"/>
              </a:ext>
            </a:extLst>
          </p:cNvPr>
          <p:cNvSpPr txBox="1"/>
          <p:nvPr/>
        </p:nvSpPr>
        <p:spPr>
          <a:xfrm>
            <a:off x="398893" y="6035337"/>
            <a:ext cx="69872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https://www.spkc.gov.lv/lv/media/15536/download</a:t>
            </a:r>
          </a:p>
        </p:txBody>
      </p:sp>
    </p:spTree>
    <p:extLst>
      <p:ext uri="{BB962C8B-B14F-4D97-AF65-F5344CB8AC3E}">
        <p14:creationId xmlns:p14="http://schemas.microsoft.com/office/powerpoint/2010/main" val="28191685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FAFB7F3-4B4E-6642-83F3-FDE2AF841F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obacco habits in Sweden and Norway 2020</a:t>
            </a:r>
          </a:p>
        </p:txBody>
      </p:sp>
      <p:graphicFrame>
        <p:nvGraphicFramePr>
          <p:cNvPr id="4" name="Plassholder for innhold 3">
            <a:extLst>
              <a:ext uri="{FF2B5EF4-FFF2-40B4-BE49-F238E27FC236}">
                <a16:creationId xmlns:a16="http://schemas.microsoft.com/office/drawing/2014/main" id="{283AC3E4-1E0D-CB49-B6D4-022490CF94A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85222467"/>
              </p:ext>
            </p:extLst>
          </p:nvPr>
        </p:nvGraphicFramePr>
        <p:xfrm>
          <a:off x="385763" y="656258"/>
          <a:ext cx="11515725" cy="56175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8A2562C0-7054-43F8-8E63-BDB4C3CE271D}"/>
              </a:ext>
            </a:extLst>
          </p:cNvPr>
          <p:cNvSpPr txBox="1"/>
          <p:nvPr/>
        </p:nvSpPr>
        <p:spPr>
          <a:xfrm>
            <a:off x="398893" y="6035337"/>
            <a:ext cx="69872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Statistics Norway.</a:t>
            </a:r>
          </a:p>
        </p:txBody>
      </p:sp>
    </p:spTree>
    <p:extLst>
      <p:ext uri="{BB962C8B-B14F-4D97-AF65-F5344CB8AC3E}">
        <p14:creationId xmlns:p14="http://schemas.microsoft.com/office/powerpoint/2010/main" val="40993868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54CA92D-F470-4056-8603-07F18892272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200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ily use of tobacco in Norway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365B19-4345-4026-AD4D-D2EA5977A132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16" name="Content Placeholder 6">
            <a:extLst>
              <a:ext uri="{FF2B5EF4-FFF2-40B4-BE49-F238E27FC236}">
                <a16:creationId xmlns:a16="http://schemas.microsoft.com/office/drawing/2014/main" id="{712A0DF1-23D4-4480-BEC4-071A52EC3BAD}"/>
              </a:ext>
            </a:extLst>
          </p:cNvPr>
          <p:cNvSpPr txBox="1">
            <a:spLocks/>
          </p:cNvSpPr>
          <p:nvPr/>
        </p:nvSpPr>
        <p:spPr>
          <a:xfrm>
            <a:off x="451181" y="725743"/>
            <a:ext cx="5586743" cy="30409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rgbClr val="E4891E"/>
              </a:buClr>
              <a:buSzPct val="150000"/>
              <a:buNone/>
            </a:pPr>
            <a:r>
              <a:rPr lang="en-US" sz="2000" b="1" noProof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/>
              </a:rPr>
              <a:t>Men, age 16-24</a:t>
            </a:r>
            <a:br>
              <a:rPr lang="en-US" sz="2000" b="1" noProof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/>
              </a:rPr>
            </a:br>
            <a:endParaRPr lang="en-US" sz="2400" b="1" noProof="1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Arial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F58E890-491F-4206-B516-EDB457C309D1}"/>
              </a:ext>
            </a:extLst>
          </p:cNvPr>
          <p:cNvSpPr txBox="1"/>
          <p:nvPr/>
        </p:nvSpPr>
        <p:spPr>
          <a:xfrm>
            <a:off x="398893" y="6035337"/>
            <a:ext cx="69872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Statistics Norway.</a:t>
            </a: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B2114622-210F-4F04-9B19-067483F3B06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22436655"/>
              </p:ext>
            </p:extLst>
          </p:nvPr>
        </p:nvGraphicFramePr>
        <p:xfrm>
          <a:off x="451181" y="1232789"/>
          <a:ext cx="5616574" cy="48025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1EE391D9-C478-4111-9070-29FF0A1CE0C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53478222"/>
              </p:ext>
            </p:extLst>
          </p:nvPr>
        </p:nvGraphicFramePr>
        <p:xfrm>
          <a:off x="6230185" y="1232789"/>
          <a:ext cx="5616574" cy="48025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1" name="Content Placeholder 6">
            <a:extLst>
              <a:ext uri="{FF2B5EF4-FFF2-40B4-BE49-F238E27FC236}">
                <a16:creationId xmlns:a16="http://schemas.microsoft.com/office/drawing/2014/main" id="{EB6B04B2-F2D0-48E6-BDA8-38902D6A16E4}"/>
              </a:ext>
            </a:extLst>
          </p:cNvPr>
          <p:cNvSpPr txBox="1">
            <a:spLocks/>
          </p:cNvSpPr>
          <p:nvPr/>
        </p:nvSpPr>
        <p:spPr>
          <a:xfrm>
            <a:off x="6228912" y="725743"/>
            <a:ext cx="5586743" cy="30409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rgbClr val="E4891E"/>
              </a:buClr>
              <a:buSzPct val="150000"/>
              <a:buNone/>
            </a:pPr>
            <a:r>
              <a:rPr lang="en-US" sz="2000" b="1" noProof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/>
              </a:rPr>
              <a:t>Women, age 16-24</a:t>
            </a:r>
            <a:br>
              <a:rPr lang="en-US" sz="2000" b="1" noProof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/>
              </a:rPr>
            </a:br>
            <a:endParaRPr lang="en-US" sz="2400" b="1" noProof="1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Arial"/>
            </a:endParaRPr>
          </a:p>
        </p:txBody>
      </p:sp>
      <p:pic>
        <p:nvPicPr>
          <p:cNvPr id="12" name="Picture 8" descr="Norway flag clipart - country flags">
            <a:extLst>
              <a:ext uri="{FF2B5EF4-FFF2-40B4-BE49-F238E27FC236}">
                <a16:creationId xmlns:a16="http://schemas.microsoft.com/office/drawing/2014/main" id="{D516C7E3-E19E-44F9-B942-C52E186D55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35655" y="80047"/>
            <a:ext cx="456709" cy="4567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B8FE7BB4-3AD5-024A-8A25-E2D94EA6FC9C}"/>
              </a:ext>
            </a:extLst>
          </p:cNvPr>
          <p:cNvSpPr txBox="1"/>
          <p:nvPr/>
        </p:nvSpPr>
        <p:spPr>
          <a:xfrm>
            <a:off x="4458017" y="4324570"/>
            <a:ext cx="1436914" cy="37555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buClr>
                <a:schemeClr val="accent3"/>
              </a:buClr>
            </a:pPr>
            <a:r>
              <a:rPr lang="en-GB" b="1" dirty="0">
                <a:solidFill>
                  <a:schemeClr val="tx2"/>
                </a:solidFill>
              </a:rPr>
              <a:t>Cigarettes</a:t>
            </a:r>
          </a:p>
        </p:txBody>
      </p:sp>
      <p:sp>
        <p:nvSpPr>
          <p:cNvPr id="15" name="TekstSylinder 14">
            <a:extLst>
              <a:ext uri="{FF2B5EF4-FFF2-40B4-BE49-F238E27FC236}">
                <a16:creationId xmlns:a16="http://schemas.microsoft.com/office/drawing/2014/main" id="{8E98AC33-5ECA-3B46-9F40-48BF63D7D7B2}"/>
              </a:ext>
            </a:extLst>
          </p:cNvPr>
          <p:cNvSpPr txBox="1"/>
          <p:nvPr/>
        </p:nvSpPr>
        <p:spPr>
          <a:xfrm>
            <a:off x="10291716" y="4579547"/>
            <a:ext cx="1436914" cy="37555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buClr>
                <a:schemeClr val="accent3"/>
              </a:buClr>
            </a:pPr>
            <a:r>
              <a:rPr lang="en-GB" b="1" dirty="0">
                <a:solidFill>
                  <a:schemeClr val="tx2"/>
                </a:solidFill>
              </a:rPr>
              <a:t>Cigarettes</a:t>
            </a:r>
          </a:p>
        </p:txBody>
      </p:sp>
      <p:sp>
        <p:nvSpPr>
          <p:cNvPr id="17" name="TekstSylinder 16">
            <a:extLst>
              <a:ext uri="{FF2B5EF4-FFF2-40B4-BE49-F238E27FC236}">
                <a16:creationId xmlns:a16="http://schemas.microsoft.com/office/drawing/2014/main" id="{37885923-CD49-FA49-BFF5-116D8663663E}"/>
              </a:ext>
            </a:extLst>
          </p:cNvPr>
          <p:cNvSpPr txBox="1"/>
          <p:nvPr/>
        </p:nvSpPr>
        <p:spPr>
          <a:xfrm>
            <a:off x="4114800" y="1779197"/>
            <a:ext cx="1869780" cy="40004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buClr>
                <a:schemeClr val="accent3"/>
              </a:buClr>
            </a:pPr>
            <a:r>
              <a:rPr lang="nb-NO" b="1" dirty="0">
                <a:solidFill>
                  <a:schemeClr val="accent3"/>
                </a:solidFill>
              </a:rPr>
              <a:t>Oral </a:t>
            </a:r>
            <a:r>
              <a:rPr lang="nb-NO" b="1" dirty="0" err="1">
                <a:solidFill>
                  <a:schemeClr val="accent3"/>
                </a:solidFill>
              </a:rPr>
              <a:t>nicotine</a:t>
            </a:r>
            <a:endParaRPr lang="nb-NO" b="1" dirty="0">
              <a:solidFill>
                <a:schemeClr val="accent3"/>
              </a:solidFill>
            </a:endParaRPr>
          </a:p>
        </p:txBody>
      </p:sp>
      <p:sp>
        <p:nvSpPr>
          <p:cNvPr id="19" name="TekstSylinder 18">
            <a:extLst>
              <a:ext uri="{FF2B5EF4-FFF2-40B4-BE49-F238E27FC236}">
                <a16:creationId xmlns:a16="http://schemas.microsoft.com/office/drawing/2014/main" id="{EFBBBAA6-3E02-BD4F-AB21-85FAE3D60FC8}"/>
              </a:ext>
            </a:extLst>
          </p:cNvPr>
          <p:cNvSpPr txBox="1"/>
          <p:nvPr/>
        </p:nvSpPr>
        <p:spPr>
          <a:xfrm>
            <a:off x="10108096" y="2969253"/>
            <a:ext cx="2246016" cy="37555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buClr>
                <a:schemeClr val="accent3"/>
              </a:buClr>
            </a:pPr>
            <a:r>
              <a:rPr lang="nb-NO" b="1" dirty="0">
                <a:solidFill>
                  <a:schemeClr val="accent3"/>
                </a:solidFill>
              </a:rPr>
              <a:t>Oral </a:t>
            </a:r>
            <a:r>
              <a:rPr lang="nb-NO" b="1" dirty="0" err="1">
                <a:solidFill>
                  <a:schemeClr val="accent3"/>
                </a:solidFill>
              </a:rPr>
              <a:t>nicotine</a:t>
            </a:r>
            <a:endParaRPr lang="nb-NO" b="1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12676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wedish men is proof of concept</a:t>
            </a:r>
          </a:p>
        </p:txBody>
      </p:sp>
      <p:graphicFrame>
        <p:nvGraphicFramePr>
          <p:cNvPr id="7" name="Chart 6"/>
          <p:cNvGraphicFramePr/>
          <p:nvPr>
            <p:extLst>
              <p:ext uri="{D42A27DB-BD31-4B8C-83A1-F6EECF244321}">
                <p14:modId xmlns:p14="http://schemas.microsoft.com/office/powerpoint/2010/main" val="2270431497"/>
              </p:ext>
            </p:extLst>
          </p:nvPr>
        </p:nvGraphicFramePr>
        <p:xfrm>
          <a:off x="195482" y="802919"/>
          <a:ext cx="11695318" cy="53791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8F6BD36E-7FB4-4F88-B395-FE6950C3B59E}"/>
              </a:ext>
            </a:extLst>
          </p:cNvPr>
          <p:cNvSpPr txBox="1"/>
          <p:nvPr/>
        </p:nvSpPr>
        <p:spPr>
          <a:xfrm>
            <a:off x="398893" y="6035337"/>
            <a:ext cx="69872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GLOBOCAN 2012, IARC -26.6.2014.</a:t>
            </a:r>
          </a:p>
        </p:txBody>
      </p:sp>
    </p:spTree>
    <p:extLst>
      <p:ext uri="{BB962C8B-B14F-4D97-AF65-F5344CB8AC3E}">
        <p14:creationId xmlns:p14="http://schemas.microsoft.com/office/powerpoint/2010/main" val="416528651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9E3B6CC-D03B-2343-A9C1-CC1932EF25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Smoking and </a:t>
            </a:r>
            <a:r>
              <a:rPr lang="nb-NO" dirty="0" err="1"/>
              <a:t>degree</a:t>
            </a:r>
            <a:r>
              <a:rPr lang="nb-NO" dirty="0"/>
              <a:t> </a:t>
            </a:r>
            <a:r>
              <a:rPr lang="nb-NO" dirty="0" err="1"/>
              <a:t>of</a:t>
            </a:r>
            <a:r>
              <a:rPr lang="nb-NO" dirty="0"/>
              <a:t> </a:t>
            </a:r>
            <a:r>
              <a:rPr lang="nb-NO" dirty="0" err="1"/>
              <a:t>regulations</a:t>
            </a:r>
            <a:r>
              <a:rPr lang="nb-NO" dirty="0"/>
              <a:t> (2017)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1D9ABD62-BBF2-FA4C-8832-FBD28CE6FC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D96889-B02B-46F6-90F4-5321315CCA4E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F866FDD4-CB42-834E-8584-87B03E22178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90865208"/>
              </p:ext>
            </p:extLst>
          </p:nvPr>
        </p:nvGraphicFramePr>
        <p:xfrm>
          <a:off x="985211" y="656261"/>
          <a:ext cx="10294777" cy="52630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kstSylinder 4">
            <a:extLst>
              <a:ext uri="{FF2B5EF4-FFF2-40B4-BE49-F238E27FC236}">
                <a16:creationId xmlns:a16="http://schemas.microsoft.com/office/drawing/2014/main" id="{B9038D98-3BDE-A84A-A1A8-2D2AFFB97714}"/>
              </a:ext>
            </a:extLst>
          </p:cNvPr>
          <p:cNvSpPr txBox="1"/>
          <p:nvPr/>
        </p:nvSpPr>
        <p:spPr>
          <a:xfrm>
            <a:off x="6694948" y="795458"/>
            <a:ext cx="1314679" cy="28643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48127"/>
              </a:buClr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rance</a:t>
            </a: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861EA28C-2CD4-AB44-9B64-4792585289CC}"/>
              </a:ext>
            </a:extLst>
          </p:cNvPr>
          <p:cNvSpPr txBox="1"/>
          <p:nvPr/>
        </p:nvSpPr>
        <p:spPr>
          <a:xfrm>
            <a:off x="9895285" y="3283650"/>
            <a:ext cx="1314679" cy="28643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48127"/>
              </a:buClr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B</a:t>
            </a:r>
          </a:p>
        </p:txBody>
      </p:sp>
      <p:sp>
        <p:nvSpPr>
          <p:cNvPr id="7" name="TekstSylinder 5">
            <a:extLst>
              <a:ext uri="{FF2B5EF4-FFF2-40B4-BE49-F238E27FC236}">
                <a16:creationId xmlns:a16="http://schemas.microsoft.com/office/drawing/2014/main" id="{4383BCD3-8077-C24A-A955-29CE556C3FD8}"/>
              </a:ext>
            </a:extLst>
          </p:cNvPr>
          <p:cNvSpPr txBox="1"/>
          <p:nvPr/>
        </p:nvSpPr>
        <p:spPr>
          <a:xfrm>
            <a:off x="6455009" y="4010610"/>
            <a:ext cx="1314679" cy="28643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48127"/>
              </a:buClr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rway</a:t>
            </a:r>
          </a:p>
        </p:txBody>
      </p:sp>
      <p:sp>
        <p:nvSpPr>
          <p:cNvPr id="8" name="TekstSylinder 5">
            <a:extLst>
              <a:ext uri="{FF2B5EF4-FFF2-40B4-BE49-F238E27FC236}">
                <a16:creationId xmlns:a16="http://schemas.microsoft.com/office/drawing/2014/main" id="{4383BCD3-8077-C24A-A955-29CE556C3FD8}"/>
              </a:ext>
            </a:extLst>
          </p:cNvPr>
          <p:cNvSpPr txBox="1"/>
          <p:nvPr/>
        </p:nvSpPr>
        <p:spPr>
          <a:xfrm>
            <a:off x="22466" y="902444"/>
            <a:ext cx="1314679" cy="58463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48127"/>
              </a:buClr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valence of smoking</a:t>
            </a:r>
          </a:p>
        </p:txBody>
      </p:sp>
      <p:sp>
        <p:nvSpPr>
          <p:cNvPr id="9" name="TekstSylinder 5">
            <a:extLst>
              <a:ext uri="{FF2B5EF4-FFF2-40B4-BE49-F238E27FC236}">
                <a16:creationId xmlns:a16="http://schemas.microsoft.com/office/drawing/2014/main" id="{4383BCD3-8077-C24A-A955-29CE556C3FD8}"/>
              </a:ext>
            </a:extLst>
          </p:cNvPr>
          <p:cNvSpPr txBox="1"/>
          <p:nvPr/>
        </p:nvSpPr>
        <p:spPr>
          <a:xfrm>
            <a:off x="7819234" y="2997212"/>
            <a:ext cx="1314679" cy="28643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48127"/>
              </a:buClr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reland</a:t>
            </a:r>
            <a:endParaRPr kumimoji="0" lang="nb-NO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kstSylinder 5">
            <a:extLst>
              <a:ext uri="{FF2B5EF4-FFF2-40B4-BE49-F238E27FC236}">
                <a16:creationId xmlns:a16="http://schemas.microsoft.com/office/drawing/2014/main" id="{4383BCD3-8077-C24A-A955-29CE556C3FD8}"/>
              </a:ext>
            </a:extLst>
          </p:cNvPr>
          <p:cNvSpPr txBox="1"/>
          <p:nvPr/>
        </p:nvSpPr>
        <p:spPr>
          <a:xfrm>
            <a:off x="3061262" y="3017048"/>
            <a:ext cx="1314679" cy="28643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48127"/>
              </a:buClr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nmark</a:t>
            </a:r>
            <a:endParaRPr kumimoji="0" lang="nb-NO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kstSylinder 5">
            <a:extLst>
              <a:ext uri="{FF2B5EF4-FFF2-40B4-BE49-F238E27FC236}">
                <a16:creationId xmlns:a16="http://schemas.microsoft.com/office/drawing/2014/main" id="{4383BCD3-8077-C24A-A955-29CE556C3FD8}"/>
              </a:ext>
            </a:extLst>
          </p:cNvPr>
          <p:cNvSpPr txBox="1"/>
          <p:nvPr/>
        </p:nvSpPr>
        <p:spPr>
          <a:xfrm>
            <a:off x="5893744" y="2895906"/>
            <a:ext cx="1314679" cy="28643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48127"/>
              </a:buClr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nland</a:t>
            </a:r>
          </a:p>
        </p:txBody>
      </p:sp>
      <p:sp>
        <p:nvSpPr>
          <p:cNvPr id="12" name="TekstSylinder 5">
            <a:extLst>
              <a:ext uri="{FF2B5EF4-FFF2-40B4-BE49-F238E27FC236}">
                <a16:creationId xmlns:a16="http://schemas.microsoft.com/office/drawing/2014/main" id="{4383BCD3-8077-C24A-A955-29CE556C3FD8}"/>
              </a:ext>
            </a:extLst>
          </p:cNvPr>
          <p:cNvSpPr txBox="1"/>
          <p:nvPr/>
        </p:nvSpPr>
        <p:spPr>
          <a:xfrm>
            <a:off x="5234274" y="1881530"/>
            <a:ext cx="1314679" cy="28643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48127"/>
              </a:buClr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ain</a:t>
            </a:r>
          </a:p>
        </p:txBody>
      </p:sp>
      <p:sp>
        <p:nvSpPr>
          <p:cNvPr id="13" name="TekstSylinder 5">
            <a:extLst>
              <a:ext uri="{FF2B5EF4-FFF2-40B4-BE49-F238E27FC236}">
                <a16:creationId xmlns:a16="http://schemas.microsoft.com/office/drawing/2014/main" id="{765E714E-2D2D-D547-8CB2-89BCB240AA67}"/>
              </a:ext>
            </a:extLst>
          </p:cNvPr>
          <p:cNvSpPr txBox="1"/>
          <p:nvPr/>
        </p:nvSpPr>
        <p:spPr>
          <a:xfrm>
            <a:off x="2109909" y="772438"/>
            <a:ext cx="1314679" cy="28643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48127"/>
              </a:buClr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ce</a:t>
            </a:r>
            <a:endParaRPr kumimoji="0" lang="nb-NO" sz="14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kstSylinder 5">
            <a:extLst>
              <a:ext uri="{FF2B5EF4-FFF2-40B4-BE49-F238E27FC236}">
                <a16:creationId xmlns:a16="http://schemas.microsoft.com/office/drawing/2014/main" id="{E91E1DB1-B590-D248-8519-616F47F887A7}"/>
              </a:ext>
            </a:extLst>
          </p:cNvPr>
          <p:cNvSpPr txBox="1"/>
          <p:nvPr/>
        </p:nvSpPr>
        <p:spPr>
          <a:xfrm>
            <a:off x="9021318" y="5860154"/>
            <a:ext cx="2794337" cy="33211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48127"/>
              </a:buClr>
              <a:buSzTx/>
              <a:buFontTx/>
              <a:buNone/>
              <a:tabLst/>
              <a:defRPr/>
            </a:pPr>
            <a:r>
              <a:rPr lang="en-GB" sz="1600" b="1" dirty="0">
                <a:solidFill>
                  <a:schemeClr val="accent3"/>
                </a:solidFill>
                <a:latin typeface="Arial"/>
              </a:rPr>
              <a:t>Strictness of regulation</a:t>
            </a:r>
            <a:endParaRPr kumimoji="0" lang="en-GB" sz="1600" b="1" i="0" u="none" strike="noStrike" kern="1200" cap="none" spc="0" normalizeH="0" baseline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TekstSylinder 5">
            <a:extLst>
              <a:ext uri="{FF2B5EF4-FFF2-40B4-BE49-F238E27FC236}">
                <a16:creationId xmlns:a16="http://schemas.microsoft.com/office/drawing/2014/main" id="{4317D730-B1A0-FF45-9D26-2D42A605A90D}"/>
              </a:ext>
            </a:extLst>
          </p:cNvPr>
          <p:cNvSpPr txBox="1"/>
          <p:nvPr/>
        </p:nvSpPr>
        <p:spPr>
          <a:xfrm>
            <a:off x="1572957" y="2710774"/>
            <a:ext cx="1314679" cy="28643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48127"/>
              </a:buClr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rmany</a:t>
            </a:r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8E7BAB64-37E7-8342-9AAF-98E23EA37852}"/>
              </a:ext>
            </a:extLst>
          </p:cNvPr>
          <p:cNvSpPr/>
          <p:nvPr/>
        </p:nvSpPr>
        <p:spPr>
          <a:xfrm>
            <a:off x="3446791" y="3720758"/>
            <a:ext cx="5687122" cy="1701231"/>
          </a:xfrm>
          <a:prstGeom prst="ellipse">
            <a:avLst/>
          </a:prstGeom>
          <a:noFill/>
          <a:ln w="539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4752B8B-1552-47AA-825B-C235D4ED03CE}"/>
              </a:ext>
            </a:extLst>
          </p:cNvPr>
          <p:cNvSpPr/>
          <p:nvPr/>
        </p:nvSpPr>
        <p:spPr>
          <a:xfrm>
            <a:off x="8735786" y="6336595"/>
            <a:ext cx="315501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1200" dirty="0">
                <a:solidFill>
                  <a:schemeClr val="bg2">
                    <a:lumMod val="90000"/>
                  </a:schemeClr>
                </a:solidFill>
              </a:rPr>
              <a:t>Source: </a:t>
            </a:r>
            <a:r>
              <a:rPr lang="nb-NO" sz="1200" dirty="0" err="1">
                <a:solidFill>
                  <a:schemeClr val="bg2">
                    <a:lumMod val="90000"/>
                  </a:schemeClr>
                </a:solidFill>
              </a:rPr>
              <a:t>Tobacco</a:t>
            </a:r>
            <a:r>
              <a:rPr lang="nb-NO" sz="1200" dirty="0">
                <a:solidFill>
                  <a:schemeClr val="bg2">
                    <a:lumMod val="90000"/>
                  </a:schemeClr>
                </a:solidFill>
              </a:rPr>
              <a:t> Control Score 2016</a:t>
            </a:r>
          </a:p>
          <a:p>
            <a:r>
              <a:rPr lang="nb-NO" sz="1200" dirty="0">
                <a:solidFill>
                  <a:schemeClr val="bg2">
                    <a:lumMod val="90000"/>
                  </a:schemeClr>
                </a:solidFill>
              </a:rPr>
              <a:t>Eurobarometer, </a:t>
            </a:r>
            <a:r>
              <a:rPr lang="nb-NO" sz="1200" dirty="0" err="1">
                <a:solidFill>
                  <a:schemeClr val="bg2">
                    <a:lumMod val="90000"/>
                  </a:schemeClr>
                </a:solidFill>
              </a:rPr>
              <a:t>March</a:t>
            </a:r>
            <a:r>
              <a:rPr lang="nb-NO" sz="1200" dirty="0">
                <a:solidFill>
                  <a:schemeClr val="bg2">
                    <a:lumMod val="90000"/>
                  </a:schemeClr>
                </a:solidFill>
              </a:rPr>
              <a:t> 2017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717F46C-A101-41DF-8C7B-2C02388A0789}"/>
              </a:ext>
            </a:extLst>
          </p:cNvPr>
          <p:cNvSpPr txBox="1"/>
          <p:nvPr/>
        </p:nvSpPr>
        <p:spPr>
          <a:xfrm>
            <a:off x="398893" y="6035337"/>
            <a:ext cx="698726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Source: Tobacco Control Score 2016 and  Eurobarometer, March 2017</a:t>
            </a:r>
          </a:p>
          <a:p>
            <a:endParaRPr lang="en-US" sz="1000" i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93766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C1BE24-BC9E-4A2B-BCDF-C6068D17D5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Harm </a:t>
            </a:r>
            <a:r>
              <a:rPr lang="nb-NO" dirty="0" err="1"/>
              <a:t>reduction</a:t>
            </a:r>
            <a:r>
              <a:rPr lang="nb-NO" dirty="0"/>
              <a:t> </a:t>
            </a:r>
            <a:r>
              <a:rPr lang="nb-NO" dirty="0" err="1"/>
              <a:t>equation</a:t>
            </a:r>
            <a:endParaRPr lang="nb-NO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A1A9EE9-E065-4AEC-98C7-89E99335B4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5200" y="838606"/>
            <a:ext cx="11516400" cy="3335352"/>
          </a:xfrm>
        </p:spPr>
        <p:txBody>
          <a:bodyPr anchor="ctr"/>
          <a:lstStyle/>
          <a:p>
            <a:pPr marL="0" indent="0" algn="ctr">
              <a:buNone/>
            </a:pPr>
            <a:r>
              <a:rPr lang="en-GB" sz="2400" u="sng" dirty="0"/>
              <a:t>Harm reduction</a:t>
            </a:r>
            <a:r>
              <a:rPr lang="en-GB" sz="2400" dirty="0"/>
              <a:t> </a:t>
            </a:r>
            <a:r>
              <a:rPr lang="en-GB" sz="2400" dirty="0">
                <a:solidFill>
                  <a:schemeClr val="accent3"/>
                </a:solidFill>
              </a:rPr>
              <a:t>=</a:t>
            </a:r>
            <a:r>
              <a:rPr lang="en-GB" sz="2400" dirty="0"/>
              <a:t> Reduced risk </a:t>
            </a:r>
            <a:r>
              <a:rPr lang="en-GB" sz="2400" dirty="0">
                <a:solidFill>
                  <a:schemeClr val="accent3"/>
                </a:solidFill>
              </a:rPr>
              <a:t>x</a:t>
            </a:r>
            <a:r>
              <a:rPr lang="en-GB" sz="2400" dirty="0"/>
              <a:t> Number who switch</a:t>
            </a:r>
          </a:p>
        </p:txBody>
      </p:sp>
      <p:cxnSp>
        <p:nvCxnSpPr>
          <p:cNvPr id="25" name="Rett pil 24">
            <a:extLst>
              <a:ext uri="{FF2B5EF4-FFF2-40B4-BE49-F238E27FC236}">
                <a16:creationId xmlns:a16="http://schemas.microsoft.com/office/drawing/2014/main" id="{9CB9A98F-5321-B747-BCC4-87127A269FEB}"/>
              </a:ext>
            </a:extLst>
          </p:cNvPr>
          <p:cNvCxnSpPr>
            <a:cxnSpLocks/>
          </p:cNvCxnSpPr>
          <p:nvPr/>
        </p:nvCxnSpPr>
        <p:spPr>
          <a:xfrm flipH="1" flipV="1">
            <a:off x="5855567" y="2723323"/>
            <a:ext cx="459252" cy="53548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tt pil 30">
            <a:extLst>
              <a:ext uri="{FF2B5EF4-FFF2-40B4-BE49-F238E27FC236}">
                <a16:creationId xmlns:a16="http://schemas.microsoft.com/office/drawing/2014/main" id="{488DE3DB-5707-4341-868B-28F97E92BAF7}"/>
              </a:ext>
            </a:extLst>
          </p:cNvPr>
          <p:cNvCxnSpPr>
            <a:cxnSpLocks/>
          </p:cNvCxnSpPr>
          <p:nvPr/>
        </p:nvCxnSpPr>
        <p:spPr>
          <a:xfrm flipV="1">
            <a:off x="7398005" y="2723323"/>
            <a:ext cx="475995" cy="53548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kstSylinder 37">
            <a:extLst>
              <a:ext uri="{FF2B5EF4-FFF2-40B4-BE49-F238E27FC236}">
                <a16:creationId xmlns:a16="http://schemas.microsoft.com/office/drawing/2014/main" id="{97BA8EB1-5EDC-D342-9CAC-A81FDE1BC058}"/>
              </a:ext>
            </a:extLst>
          </p:cNvPr>
          <p:cNvSpPr txBox="1"/>
          <p:nvPr/>
        </p:nvSpPr>
        <p:spPr>
          <a:xfrm>
            <a:off x="6206203" y="3223692"/>
            <a:ext cx="1300418" cy="34038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>
              <a:buClr>
                <a:schemeClr val="accent3"/>
              </a:buClr>
            </a:pPr>
            <a:r>
              <a:rPr lang="nb-NO" dirty="0">
                <a:solidFill>
                  <a:schemeClr val="accent3"/>
                </a:solidFill>
              </a:rPr>
              <a:t>Trade </a:t>
            </a:r>
            <a:r>
              <a:rPr lang="nb-NO" dirty="0" err="1">
                <a:solidFill>
                  <a:schemeClr val="accent3"/>
                </a:solidFill>
              </a:rPr>
              <a:t>offs</a:t>
            </a:r>
            <a:endParaRPr lang="nb-NO" dirty="0">
              <a:solidFill>
                <a:schemeClr val="accent3"/>
              </a:solidFill>
            </a:endParaRPr>
          </a:p>
        </p:txBody>
      </p:sp>
      <p:sp>
        <p:nvSpPr>
          <p:cNvPr id="39" name="TekstSylinder 38">
            <a:extLst>
              <a:ext uri="{FF2B5EF4-FFF2-40B4-BE49-F238E27FC236}">
                <a16:creationId xmlns:a16="http://schemas.microsoft.com/office/drawing/2014/main" id="{2D0CAF69-D6F9-C848-B5A1-A40F873004C7}"/>
              </a:ext>
            </a:extLst>
          </p:cNvPr>
          <p:cNvSpPr txBox="1"/>
          <p:nvPr/>
        </p:nvSpPr>
        <p:spPr>
          <a:xfrm>
            <a:off x="521825" y="4656271"/>
            <a:ext cx="5575762" cy="140240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52000" indent="-252000">
              <a:buClr>
                <a:schemeClr val="accent3"/>
              </a:buClr>
              <a:buFont typeface="Courier New" panose="02070309020205020404" pitchFamily="49" charset="0"/>
              <a:buChar char="o"/>
            </a:pPr>
            <a:r>
              <a:rPr lang="nb-NO" sz="1400" b="1" dirty="0" err="1">
                <a:solidFill>
                  <a:schemeClr val="tx2"/>
                </a:solidFill>
              </a:rPr>
              <a:t>Conclution</a:t>
            </a:r>
            <a:r>
              <a:rPr lang="nb-NO" sz="1400" b="1" dirty="0">
                <a:solidFill>
                  <a:schemeClr val="tx2"/>
                </a:solidFill>
              </a:rPr>
              <a:t> 1: </a:t>
            </a:r>
            <a:r>
              <a:rPr lang="nb-NO" sz="1400" dirty="0">
                <a:solidFill>
                  <a:schemeClr val="tx2"/>
                </a:solidFill>
              </a:rPr>
              <a:t>The </a:t>
            </a:r>
            <a:r>
              <a:rPr lang="nb-NO" sz="1400" dirty="0" err="1">
                <a:solidFill>
                  <a:schemeClr val="tx2"/>
                </a:solidFill>
              </a:rPr>
              <a:t>perfectly</a:t>
            </a:r>
            <a:r>
              <a:rPr lang="nb-NO" sz="1400" dirty="0">
                <a:solidFill>
                  <a:schemeClr val="tx2"/>
                </a:solidFill>
              </a:rPr>
              <a:t> risk </a:t>
            </a:r>
            <a:r>
              <a:rPr lang="nb-NO" sz="1400" dirty="0" err="1">
                <a:solidFill>
                  <a:schemeClr val="tx2"/>
                </a:solidFill>
              </a:rPr>
              <a:t>free</a:t>
            </a:r>
            <a:r>
              <a:rPr lang="nb-NO" sz="1400" dirty="0">
                <a:solidFill>
                  <a:schemeClr val="tx2"/>
                </a:solidFill>
              </a:rPr>
              <a:t> </a:t>
            </a:r>
            <a:r>
              <a:rPr lang="nb-NO" sz="1400" dirty="0" err="1">
                <a:solidFill>
                  <a:schemeClr val="tx2"/>
                </a:solidFill>
              </a:rPr>
              <a:t>product</a:t>
            </a:r>
            <a:r>
              <a:rPr lang="nb-NO" sz="1400" dirty="0">
                <a:solidFill>
                  <a:schemeClr val="tx2"/>
                </a:solidFill>
              </a:rPr>
              <a:t> </a:t>
            </a:r>
            <a:r>
              <a:rPr lang="nb-NO" sz="1400" dirty="0" err="1">
                <a:solidFill>
                  <a:schemeClr val="tx2"/>
                </a:solidFill>
              </a:rPr>
              <a:t>that</a:t>
            </a:r>
            <a:r>
              <a:rPr lang="nb-NO" sz="1400" dirty="0">
                <a:solidFill>
                  <a:schemeClr val="tx2"/>
                </a:solidFill>
              </a:rPr>
              <a:t> </a:t>
            </a:r>
            <a:r>
              <a:rPr lang="nb-NO" sz="1400" dirty="0" err="1">
                <a:solidFill>
                  <a:schemeClr val="tx2"/>
                </a:solidFill>
              </a:rPr>
              <a:t>no-one</a:t>
            </a:r>
            <a:r>
              <a:rPr lang="nb-NO" sz="1400" dirty="0">
                <a:solidFill>
                  <a:schemeClr val="tx2"/>
                </a:solidFill>
              </a:rPr>
              <a:t> </a:t>
            </a:r>
            <a:r>
              <a:rPr lang="nb-NO" sz="1400" dirty="0" err="1">
                <a:solidFill>
                  <a:schemeClr val="tx2"/>
                </a:solidFill>
              </a:rPr>
              <a:t>wants</a:t>
            </a:r>
            <a:r>
              <a:rPr lang="nb-NO" sz="1400" dirty="0">
                <a:solidFill>
                  <a:schemeClr val="tx2"/>
                </a:solidFill>
              </a:rPr>
              <a:t> scores </a:t>
            </a:r>
            <a:r>
              <a:rPr lang="nb-NO" sz="1400" dirty="0" err="1">
                <a:solidFill>
                  <a:schemeClr val="tx2"/>
                </a:solidFill>
              </a:rPr>
              <a:t>badly</a:t>
            </a:r>
            <a:r>
              <a:rPr lang="nb-NO" sz="1400" dirty="0">
                <a:solidFill>
                  <a:schemeClr val="tx2"/>
                </a:solidFill>
              </a:rPr>
              <a:t> in </a:t>
            </a:r>
            <a:r>
              <a:rPr lang="nb-NO" sz="1400" dirty="0" err="1">
                <a:solidFill>
                  <a:schemeClr val="tx2"/>
                </a:solidFill>
              </a:rPr>
              <a:t>the</a:t>
            </a:r>
            <a:r>
              <a:rPr lang="nb-NO" sz="1400" dirty="0">
                <a:solidFill>
                  <a:schemeClr val="tx2"/>
                </a:solidFill>
              </a:rPr>
              <a:t> harm </a:t>
            </a:r>
            <a:r>
              <a:rPr lang="nb-NO" sz="1400" dirty="0" err="1">
                <a:solidFill>
                  <a:schemeClr val="tx2"/>
                </a:solidFill>
              </a:rPr>
              <a:t>reduction</a:t>
            </a:r>
            <a:r>
              <a:rPr lang="nb-NO" sz="1400" dirty="0">
                <a:solidFill>
                  <a:schemeClr val="tx2"/>
                </a:solidFill>
              </a:rPr>
              <a:t> </a:t>
            </a:r>
            <a:r>
              <a:rPr lang="nb-NO" sz="1400" dirty="0" err="1">
                <a:solidFill>
                  <a:schemeClr val="tx2"/>
                </a:solidFill>
              </a:rPr>
              <a:t>equation</a:t>
            </a:r>
            <a:r>
              <a:rPr lang="nb-NO" sz="1400" dirty="0">
                <a:solidFill>
                  <a:schemeClr val="tx2"/>
                </a:solidFill>
              </a:rPr>
              <a:t>.</a:t>
            </a:r>
          </a:p>
          <a:p>
            <a:pPr>
              <a:buClr>
                <a:schemeClr val="accent3"/>
              </a:buClr>
            </a:pPr>
            <a:endParaRPr lang="nb-NO" sz="1400" dirty="0">
              <a:solidFill>
                <a:schemeClr val="tx2"/>
              </a:solidFill>
            </a:endParaRPr>
          </a:p>
          <a:p>
            <a:pPr marL="252000" indent="-252000">
              <a:buClr>
                <a:schemeClr val="accent3"/>
              </a:buClr>
              <a:buFont typeface="Courier New" panose="02070309020205020404" pitchFamily="49" charset="0"/>
              <a:buChar char="o"/>
            </a:pPr>
            <a:r>
              <a:rPr lang="nb-NO" sz="1400" b="1" dirty="0" err="1">
                <a:solidFill>
                  <a:schemeClr val="tx2"/>
                </a:solidFill>
              </a:rPr>
              <a:t>Conclution</a:t>
            </a:r>
            <a:r>
              <a:rPr lang="nb-NO" sz="1400" b="1" dirty="0">
                <a:solidFill>
                  <a:schemeClr val="tx2"/>
                </a:solidFill>
              </a:rPr>
              <a:t> 2: </a:t>
            </a:r>
            <a:r>
              <a:rPr lang="nb-NO" sz="1400" dirty="0">
                <a:solidFill>
                  <a:schemeClr val="tx2"/>
                </a:solidFill>
              </a:rPr>
              <a:t>A diverse range </a:t>
            </a:r>
            <a:r>
              <a:rPr lang="nb-NO" sz="1400" dirty="0" err="1">
                <a:solidFill>
                  <a:schemeClr val="tx2"/>
                </a:solidFill>
              </a:rPr>
              <a:t>of</a:t>
            </a:r>
            <a:r>
              <a:rPr lang="nb-NO" sz="1400" dirty="0">
                <a:solidFill>
                  <a:schemeClr val="tx2"/>
                </a:solidFill>
              </a:rPr>
              <a:t> </a:t>
            </a:r>
            <a:r>
              <a:rPr lang="nb-NO" sz="1400" dirty="0" err="1">
                <a:solidFill>
                  <a:schemeClr val="tx2"/>
                </a:solidFill>
              </a:rPr>
              <a:t>products</a:t>
            </a:r>
            <a:r>
              <a:rPr lang="nb-NO" sz="1400" dirty="0">
                <a:solidFill>
                  <a:schemeClr val="tx2"/>
                </a:solidFill>
              </a:rPr>
              <a:t> </a:t>
            </a:r>
            <a:r>
              <a:rPr lang="nb-NO" sz="1400" dirty="0" err="1">
                <a:solidFill>
                  <a:schemeClr val="tx2"/>
                </a:solidFill>
              </a:rPr>
              <a:t>with</a:t>
            </a:r>
            <a:r>
              <a:rPr lang="nb-NO" sz="1400" dirty="0">
                <a:solidFill>
                  <a:schemeClr val="tx2"/>
                </a:solidFill>
              </a:rPr>
              <a:t> </a:t>
            </a:r>
            <a:r>
              <a:rPr lang="nb-NO" sz="1400" dirty="0" err="1">
                <a:solidFill>
                  <a:schemeClr val="tx2"/>
                </a:solidFill>
              </a:rPr>
              <a:t>substantially</a:t>
            </a:r>
            <a:r>
              <a:rPr lang="nb-NO" sz="1400" dirty="0">
                <a:solidFill>
                  <a:schemeClr val="tx2"/>
                </a:solidFill>
              </a:rPr>
              <a:t> </a:t>
            </a:r>
            <a:r>
              <a:rPr lang="nb-NO" sz="1400" dirty="0" err="1">
                <a:solidFill>
                  <a:schemeClr val="tx2"/>
                </a:solidFill>
              </a:rPr>
              <a:t>reduced</a:t>
            </a:r>
            <a:r>
              <a:rPr lang="nb-NO" sz="1400" dirty="0">
                <a:solidFill>
                  <a:schemeClr val="tx2"/>
                </a:solidFill>
              </a:rPr>
              <a:t> risk lets </a:t>
            </a:r>
            <a:r>
              <a:rPr lang="nb-NO" sz="1400" dirty="0" err="1">
                <a:solidFill>
                  <a:schemeClr val="tx2"/>
                </a:solidFill>
              </a:rPr>
              <a:t>each</a:t>
            </a:r>
            <a:r>
              <a:rPr lang="nb-NO" sz="1400" dirty="0">
                <a:solidFill>
                  <a:schemeClr val="tx2"/>
                </a:solidFill>
              </a:rPr>
              <a:t> </a:t>
            </a:r>
            <a:r>
              <a:rPr lang="nb-NO" sz="1400" dirty="0" err="1">
                <a:solidFill>
                  <a:schemeClr val="tx2"/>
                </a:solidFill>
              </a:rPr>
              <a:t>smoker</a:t>
            </a:r>
            <a:r>
              <a:rPr lang="nb-NO" sz="1400" dirty="0">
                <a:solidFill>
                  <a:schemeClr val="tx2"/>
                </a:solidFill>
              </a:rPr>
              <a:t> </a:t>
            </a:r>
            <a:r>
              <a:rPr lang="nb-NO" sz="1400" dirty="0" err="1">
                <a:solidFill>
                  <a:schemeClr val="tx2"/>
                </a:solidFill>
              </a:rPr>
              <a:t>decide</a:t>
            </a:r>
            <a:r>
              <a:rPr lang="nb-NO" sz="1400" dirty="0">
                <a:solidFill>
                  <a:schemeClr val="tx2"/>
                </a:solidFill>
              </a:rPr>
              <a:t> </a:t>
            </a:r>
            <a:r>
              <a:rPr lang="nb-NO" sz="1400" dirty="0" err="1">
                <a:solidFill>
                  <a:schemeClr val="tx2"/>
                </a:solidFill>
              </a:rPr>
              <a:t>wich</a:t>
            </a:r>
            <a:r>
              <a:rPr lang="nb-NO" sz="1400" dirty="0">
                <a:solidFill>
                  <a:schemeClr val="tx2"/>
                </a:solidFill>
              </a:rPr>
              <a:t> </a:t>
            </a:r>
            <a:r>
              <a:rPr lang="nb-NO" sz="1400" dirty="0" err="1">
                <a:solidFill>
                  <a:schemeClr val="tx2"/>
                </a:solidFill>
              </a:rPr>
              <a:t>product</a:t>
            </a:r>
            <a:r>
              <a:rPr lang="nb-NO" sz="1400" dirty="0">
                <a:solidFill>
                  <a:schemeClr val="tx2"/>
                </a:solidFill>
              </a:rPr>
              <a:t> is best</a:t>
            </a:r>
          </a:p>
        </p:txBody>
      </p:sp>
    </p:spTree>
    <p:extLst>
      <p:ext uri="{BB962C8B-B14F-4D97-AF65-F5344CB8AC3E}">
        <p14:creationId xmlns:p14="http://schemas.microsoft.com/office/powerpoint/2010/main" val="240796254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920D54-895C-45E5-810D-2D0821798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err="1"/>
              <a:t>What</a:t>
            </a:r>
            <a:r>
              <a:rPr lang="nb-NO" dirty="0"/>
              <a:t> has driven </a:t>
            </a:r>
            <a:r>
              <a:rPr lang="nb-NO" dirty="0" err="1"/>
              <a:t>this</a:t>
            </a:r>
            <a:r>
              <a:rPr lang="nb-NO" dirty="0"/>
              <a:t> </a:t>
            </a:r>
            <a:r>
              <a:rPr lang="nb-NO" dirty="0" err="1"/>
              <a:t>change</a:t>
            </a:r>
            <a:r>
              <a:rPr lang="nb-NO" dirty="0"/>
              <a:t> </a:t>
            </a:r>
            <a:r>
              <a:rPr lang="nb-NO" dirty="0" err="1"/>
              <a:t>away</a:t>
            </a:r>
            <a:r>
              <a:rPr lang="nb-NO" dirty="0"/>
              <a:t> from </a:t>
            </a:r>
            <a:r>
              <a:rPr lang="nb-NO" dirty="0" err="1"/>
              <a:t>cigarettes</a:t>
            </a:r>
            <a:r>
              <a:rPr lang="nb-NO" dirty="0"/>
              <a:t>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17BC08-E501-4DF0-8C5A-4D8EA446AD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5200" y="838606"/>
            <a:ext cx="6031098" cy="5258382"/>
          </a:xfrm>
        </p:spPr>
        <p:txBody>
          <a:bodyPr/>
          <a:lstStyle/>
          <a:p>
            <a:r>
              <a:rPr lang="en-GB" sz="1600" dirty="0"/>
              <a:t>Main reasons </a:t>
            </a:r>
          </a:p>
          <a:p>
            <a:pPr lvl="1"/>
            <a:r>
              <a:rPr lang="en-GB" sz="1400" b="0" dirty="0"/>
              <a:t>Less dangerous products have been in the market for a long time, and have had the possibility to compete with traditional cigarettes. </a:t>
            </a:r>
          </a:p>
          <a:p>
            <a:pPr lvl="1"/>
            <a:r>
              <a:rPr lang="en-GB" sz="1400" b="0" dirty="0"/>
              <a:t>Culturally driven – smokers see products as an alternative</a:t>
            </a:r>
          </a:p>
          <a:p>
            <a:pPr lvl="1"/>
            <a:r>
              <a:rPr lang="en-GB" sz="1400" b="0" dirty="0"/>
              <a:t>«everybody knows» that nicotine pouches and other oral products are less dangerous than cigarettes. However, they still think it is more dangerous than it is. </a:t>
            </a:r>
            <a:endParaRPr lang="en-GB" sz="1400" dirty="0"/>
          </a:p>
          <a:p>
            <a:r>
              <a:rPr lang="en-GB" sz="1600" dirty="0"/>
              <a:t>Consumer driven change</a:t>
            </a:r>
          </a:p>
          <a:p>
            <a:pPr lvl="1"/>
            <a:r>
              <a:rPr lang="en-GB" sz="1400" b="0" dirty="0" err="1"/>
              <a:t>Fueled</a:t>
            </a:r>
            <a:r>
              <a:rPr lang="en-GB" sz="1400" b="0" dirty="0"/>
              <a:t> by media and Norwegian scientist</a:t>
            </a:r>
          </a:p>
          <a:p>
            <a:r>
              <a:rPr lang="en-GB" sz="1600" dirty="0"/>
              <a:t>Market has allowed for it to happen</a:t>
            </a:r>
          </a:p>
          <a:p>
            <a:pPr lvl="1"/>
            <a:r>
              <a:rPr lang="en-GB" sz="1400" b="0" dirty="0"/>
              <a:t>No bans, but strict regulations</a:t>
            </a:r>
          </a:p>
          <a:p>
            <a:r>
              <a:rPr lang="en-GB" sz="1600" dirty="0"/>
              <a:t>Harm reduction (small) part of policy</a:t>
            </a:r>
          </a:p>
          <a:p>
            <a:pPr lvl="1"/>
            <a:r>
              <a:rPr lang="en-GB" sz="1400" b="0" dirty="0"/>
              <a:t>Politicians not in the front sea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A368B58-AB1F-400D-BF09-EE4AFE04A80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1791" t="11097" r="27376" b="28319"/>
          <a:stretch/>
        </p:blipFill>
        <p:spPr>
          <a:xfrm>
            <a:off x="6787201" y="1254729"/>
            <a:ext cx="4689362" cy="434854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90145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196B4A-13D7-4006-A5F6-2C3A621D4D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err="1"/>
              <a:t>Regulations</a:t>
            </a:r>
            <a:r>
              <a:rPr lang="nb-NO" dirty="0"/>
              <a:t> for Oral </a:t>
            </a:r>
            <a:r>
              <a:rPr lang="nb-NO" dirty="0" err="1"/>
              <a:t>Nicotine</a:t>
            </a:r>
            <a:r>
              <a:rPr lang="nb-NO" dirty="0"/>
              <a:t> (a </a:t>
            </a:r>
            <a:r>
              <a:rPr lang="nb-NO" dirty="0" err="1"/>
              <a:t>simplification</a:t>
            </a:r>
            <a:r>
              <a:rPr lang="nb-NO" dirty="0"/>
              <a:t>)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F67A43E7-FDAA-4680-97B8-7486A398B73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78591717"/>
              </p:ext>
            </p:extLst>
          </p:nvPr>
        </p:nvGraphicFramePr>
        <p:xfrm>
          <a:off x="385763" y="639420"/>
          <a:ext cx="11091858" cy="536448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848643">
                  <a:extLst>
                    <a:ext uri="{9D8B030D-6E8A-4147-A177-3AD203B41FA5}">
                      <a16:colId xmlns:a16="http://schemas.microsoft.com/office/drawing/2014/main" val="2116543832"/>
                    </a:ext>
                  </a:extLst>
                </a:gridCol>
                <a:gridCol w="1848643">
                  <a:extLst>
                    <a:ext uri="{9D8B030D-6E8A-4147-A177-3AD203B41FA5}">
                      <a16:colId xmlns:a16="http://schemas.microsoft.com/office/drawing/2014/main" val="2491628969"/>
                    </a:ext>
                  </a:extLst>
                </a:gridCol>
                <a:gridCol w="1848643">
                  <a:extLst>
                    <a:ext uri="{9D8B030D-6E8A-4147-A177-3AD203B41FA5}">
                      <a16:colId xmlns:a16="http://schemas.microsoft.com/office/drawing/2014/main" val="1385352254"/>
                    </a:ext>
                  </a:extLst>
                </a:gridCol>
                <a:gridCol w="1848643">
                  <a:extLst>
                    <a:ext uri="{9D8B030D-6E8A-4147-A177-3AD203B41FA5}">
                      <a16:colId xmlns:a16="http://schemas.microsoft.com/office/drawing/2014/main" val="40837868"/>
                    </a:ext>
                  </a:extLst>
                </a:gridCol>
                <a:gridCol w="1848643">
                  <a:extLst>
                    <a:ext uri="{9D8B030D-6E8A-4147-A177-3AD203B41FA5}">
                      <a16:colId xmlns:a16="http://schemas.microsoft.com/office/drawing/2014/main" val="1578643897"/>
                    </a:ext>
                  </a:extLst>
                </a:gridCol>
                <a:gridCol w="1848643">
                  <a:extLst>
                    <a:ext uri="{9D8B030D-6E8A-4147-A177-3AD203B41FA5}">
                      <a16:colId xmlns:a16="http://schemas.microsoft.com/office/drawing/2014/main" val="272887547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nb-NO" sz="1400" dirty="0" err="1"/>
                        <a:t>what</a:t>
                      </a:r>
                      <a:endParaRPr lang="nb-NO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 err="1"/>
                        <a:t>Sweden</a:t>
                      </a:r>
                      <a:endParaRPr lang="nb-NO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Norwa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 err="1"/>
                        <a:t>Czech</a:t>
                      </a:r>
                      <a:r>
                        <a:rPr lang="nb-NO" sz="1400" dirty="0"/>
                        <a:t> Republi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 err="1"/>
                        <a:t>Estonia</a:t>
                      </a:r>
                      <a:endParaRPr lang="nb-NO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 err="1"/>
                        <a:t>Denmark</a:t>
                      </a:r>
                      <a:endParaRPr lang="nb-NO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550085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400" b="1" dirty="0"/>
                        <a:t>Display ba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 err="1"/>
                        <a:t>no</a:t>
                      </a:r>
                      <a:endParaRPr lang="nb-NO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 err="1"/>
                        <a:t>Yes</a:t>
                      </a:r>
                      <a:endParaRPr lang="nb-NO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 err="1"/>
                        <a:t>Yes</a:t>
                      </a:r>
                      <a:endParaRPr lang="nb-NO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Y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45097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400" b="1" dirty="0" err="1"/>
                        <a:t>Taxation</a:t>
                      </a:r>
                      <a:r>
                        <a:rPr lang="nb-NO" sz="1400" b="1" dirty="0"/>
                        <a:t> (RSP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Half </a:t>
                      </a:r>
                      <a:r>
                        <a:rPr lang="nb-NO" sz="1400" dirty="0" err="1"/>
                        <a:t>tax</a:t>
                      </a:r>
                      <a:r>
                        <a:rPr lang="nb-NO" sz="1400" dirty="0"/>
                        <a:t> for NPs </a:t>
                      </a:r>
                      <a:r>
                        <a:rPr lang="nb-NO" sz="1400" dirty="0" err="1"/>
                        <a:t>compared</a:t>
                      </a:r>
                      <a:r>
                        <a:rPr lang="nb-NO" sz="1400" dirty="0"/>
                        <a:t> to oral </a:t>
                      </a:r>
                      <a:r>
                        <a:rPr lang="nb-NO" sz="1400" dirty="0" err="1"/>
                        <a:t>tobacco</a:t>
                      </a:r>
                      <a:endParaRPr lang="nb-NO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2194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dirty="0"/>
                        <a:t>Half </a:t>
                      </a:r>
                      <a:r>
                        <a:rPr lang="nb-NO" sz="1400" dirty="0" err="1"/>
                        <a:t>tax</a:t>
                      </a:r>
                      <a:r>
                        <a:rPr lang="nb-NO" sz="1400" dirty="0"/>
                        <a:t> for NPs </a:t>
                      </a:r>
                      <a:r>
                        <a:rPr lang="nb-NO" sz="1400" dirty="0" err="1"/>
                        <a:t>compared</a:t>
                      </a:r>
                      <a:r>
                        <a:rPr lang="nb-NO" sz="1400" dirty="0"/>
                        <a:t> to oral </a:t>
                      </a:r>
                      <a:r>
                        <a:rPr lang="nb-NO" sz="1400" dirty="0" err="1"/>
                        <a:t>tobacco</a:t>
                      </a:r>
                      <a:endParaRPr lang="nb-NO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 err="1"/>
                        <a:t>Yes</a:t>
                      </a:r>
                      <a:r>
                        <a:rPr lang="nb-NO" sz="1400" dirty="0"/>
                        <a:t>, as alternative </a:t>
                      </a:r>
                      <a:r>
                        <a:rPr lang="nb-NO" sz="1400" dirty="0" err="1"/>
                        <a:t>tobacco</a:t>
                      </a:r>
                      <a:r>
                        <a:rPr lang="nb-NO" sz="1400" dirty="0"/>
                        <a:t> </a:t>
                      </a:r>
                      <a:r>
                        <a:rPr lang="nb-NO" sz="1400" dirty="0" err="1"/>
                        <a:t>product</a:t>
                      </a:r>
                      <a:endParaRPr lang="nb-NO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legislation in prepar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586968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400" b="1" dirty="0"/>
                        <a:t>General </a:t>
                      </a:r>
                      <a:r>
                        <a:rPr lang="nb-NO" sz="1400" b="1" dirty="0" err="1"/>
                        <a:t>knowledge</a:t>
                      </a:r>
                      <a:r>
                        <a:rPr lang="nb-NO" sz="1400" b="1" dirty="0"/>
                        <a:t> </a:t>
                      </a:r>
                      <a:r>
                        <a:rPr lang="nb-NO" sz="1400" b="1" dirty="0" err="1"/>
                        <a:t>about</a:t>
                      </a:r>
                      <a:r>
                        <a:rPr lang="nb-NO" sz="1400" b="1" dirty="0"/>
                        <a:t> N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Hig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Hig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Medium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Medium (</a:t>
                      </a:r>
                      <a:r>
                        <a:rPr lang="nb-NO" sz="1400" dirty="0" err="1"/>
                        <a:t>increasing</a:t>
                      </a:r>
                      <a:r>
                        <a:rPr lang="nb-NO" sz="1400"/>
                        <a:t>)</a:t>
                      </a:r>
                      <a:endParaRPr lang="nb-NO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Mediu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409640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400" b="1" dirty="0"/>
                        <a:t>Media </a:t>
                      </a:r>
                      <a:r>
                        <a:rPr lang="nb-NO" sz="1400" b="1" dirty="0" err="1"/>
                        <a:t>discussion</a:t>
                      </a:r>
                      <a:r>
                        <a:rPr lang="nb-NO" sz="1400" b="1" dirty="0"/>
                        <a:t> </a:t>
                      </a:r>
                      <a:r>
                        <a:rPr lang="nb-NO" sz="1400" b="1" dirty="0" err="1"/>
                        <a:t>on</a:t>
                      </a:r>
                      <a:r>
                        <a:rPr lang="nb-NO" sz="1400" b="1" dirty="0"/>
                        <a:t> harm </a:t>
                      </a:r>
                      <a:r>
                        <a:rPr lang="nb-NO" sz="1400" b="1" dirty="0" err="1"/>
                        <a:t>reduction</a:t>
                      </a:r>
                      <a:endParaRPr lang="nb-NO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 err="1"/>
                        <a:t>Yes</a:t>
                      </a:r>
                      <a:endParaRPr lang="nb-NO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 err="1"/>
                        <a:t>Yes</a:t>
                      </a:r>
                      <a:r>
                        <a:rPr lang="nb-NO" sz="1400" dirty="0"/>
                        <a:t>, </a:t>
                      </a:r>
                      <a:r>
                        <a:rPr lang="nb-NO" sz="1400" dirty="0" err="1"/>
                        <a:t>frequently</a:t>
                      </a:r>
                      <a:endParaRPr lang="nb-NO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 err="1"/>
                        <a:t>Yes</a:t>
                      </a:r>
                      <a:r>
                        <a:rPr lang="nb-NO" sz="1400" dirty="0"/>
                        <a:t>, </a:t>
                      </a:r>
                      <a:r>
                        <a:rPr lang="nb-NO" sz="1400" dirty="0" err="1"/>
                        <a:t>but</a:t>
                      </a:r>
                      <a:r>
                        <a:rPr lang="nb-NO" sz="1400" dirty="0"/>
                        <a:t> not </a:t>
                      </a:r>
                      <a:r>
                        <a:rPr lang="nb-NO" sz="1400" dirty="0" err="1"/>
                        <a:t>mainstream</a:t>
                      </a:r>
                      <a:r>
                        <a:rPr lang="nb-NO" sz="1400" dirty="0"/>
                        <a:t>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 err="1"/>
                        <a:t>Rarely</a:t>
                      </a:r>
                      <a:endParaRPr lang="nb-NO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few examples in specialized media </a:t>
                      </a:r>
                      <a:endParaRPr lang="nb-NO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081567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400" b="1" dirty="0" err="1"/>
                        <a:t>Nicotine</a:t>
                      </a:r>
                      <a:r>
                        <a:rPr lang="nb-NO" sz="1400" b="1" dirty="0"/>
                        <a:t> </a:t>
                      </a:r>
                      <a:r>
                        <a:rPr lang="nb-NO" sz="1400" b="1" dirty="0" err="1"/>
                        <a:t>ceiling</a:t>
                      </a:r>
                      <a:endParaRPr lang="nb-NO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 err="1"/>
                        <a:t>Recommended</a:t>
                      </a:r>
                      <a:r>
                        <a:rPr lang="nb-NO" sz="1400" dirty="0"/>
                        <a:t> by Swedish </a:t>
                      </a:r>
                      <a:r>
                        <a:rPr lang="nb-NO" sz="1400" dirty="0" err="1"/>
                        <a:t>Institute</a:t>
                      </a:r>
                      <a:r>
                        <a:rPr lang="nb-NO" sz="1400" dirty="0"/>
                        <a:t> </a:t>
                      </a:r>
                      <a:r>
                        <a:rPr lang="nb-NO" sz="1400" dirty="0" err="1"/>
                        <a:t>of</a:t>
                      </a:r>
                      <a:r>
                        <a:rPr lang="nb-NO" sz="1400" dirty="0"/>
                        <a:t> Standards (20 mg/</a:t>
                      </a:r>
                      <a:r>
                        <a:rPr lang="nb-NO" sz="1400" dirty="0" err="1"/>
                        <a:t>pouch</a:t>
                      </a:r>
                      <a:r>
                        <a:rPr lang="nb-NO" sz="1400" dirty="0"/>
                        <a:t>). </a:t>
                      </a:r>
                      <a:r>
                        <a:rPr lang="nb-NO" sz="1400" dirty="0" err="1"/>
                        <a:t>Supported</a:t>
                      </a:r>
                      <a:r>
                        <a:rPr lang="nb-NO" sz="1400" dirty="0"/>
                        <a:t> by </a:t>
                      </a:r>
                      <a:r>
                        <a:rPr lang="nb-NO" sz="1400" dirty="0" err="1"/>
                        <a:t>industry</a:t>
                      </a:r>
                      <a:r>
                        <a:rPr lang="nb-NO" sz="1400" dirty="0"/>
                        <a:t>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No, </a:t>
                      </a:r>
                      <a:r>
                        <a:rPr lang="nb-NO" sz="1400" dirty="0" err="1"/>
                        <a:t>but</a:t>
                      </a:r>
                      <a:r>
                        <a:rPr lang="nb-NO" sz="1400" dirty="0"/>
                        <a:t> </a:t>
                      </a:r>
                      <a:r>
                        <a:rPr lang="nb-NO" sz="1400" dirty="0" err="1"/>
                        <a:t>will</a:t>
                      </a:r>
                      <a:r>
                        <a:rPr lang="nb-NO" sz="1400" dirty="0"/>
                        <a:t> be </a:t>
                      </a:r>
                      <a:r>
                        <a:rPr lang="nb-NO" sz="1400" dirty="0" err="1"/>
                        <a:t>addressed</a:t>
                      </a:r>
                      <a:r>
                        <a:rPr lang="nb-NO" sz="1400" dirty="0"/>
                        <a:t> during by </a:t>
                      </a:r>
                      <a:r>
                        <a:rPr lang="nb-NO" sz="1400" dirty="0" err="1"/>
                        <a:t>the</a:t>
                      </a:r>
                      <a:r>
                        <a:rPr lang="nb-NO" sz="1400" dirty="0"/>
                        <a:t> </a:t>
                      </a:r>
                      <a:r>
                        <a:rPr lang="nb-NO" sz="1400" dirty="0" err="1"/>
                        <a:t>MoH</a:t>
                      </a:r>
                      <a:r>
                        <a:rPr lang="nb-NO" sz="1400" dirty="0"/>
                        <a:t> </a:t>
                      </a:r>
                      <a:r>
                        <a:rPr lang="nb-NO" sz="1400" dirty="0" err="1"/>
                        <a:t>once</a:t>
                      </a:r>
                      <a:r>
                        <a:rPr lang="nb-NO" sz="1400" dirty="0"/>
                        <a:t> </a:t>
                      </a:r>
                      <a:r>
                        <a:rPr lang="nb-NO" sz="1400" dirty="0" err="1"/>
                        <a:t>work</a:t>
                      </a:r>
                      <a:r>
                        <a:rPr lang="nb-NO" sz="1400" dirty="0"/>
                        <a:t> </a:t>
                      </a:r>
                      <a:r>
                        <a:rPr lang="nb-NO" sz="1400" dirty="0" err="1"/>
                        <a:t>on</a:t>
                      </a:r>
                      <a:r>
                        <a:rPr lang="nb-NO" sz="1400" dirty="0"/>
                        <a:t> </a:t>
                      </a:r>
                      <a:r>
                        <a:rPr lang="nb-NO" sz="1400" dirty="0" err="1"/>
                        <a:t>secondary</a:t>
                      </a:r>
                      <a:r>
                        <a:rPr lang="nb-NO" sz="1400" dirty="0"/>
                        <a:t> </a:t>
                      </a:r>
                      <a:r>
                        <a:rPr lang="nb-NO" sz="1400" dirty="0" err="1"/>
                        <a:t>reg</a:t>
                      </a:r>
                      <a:r>
                        <a:rPr lang="nb-NO" sz="1400" dirty="0"/>
                        <a:t>. </a:t>
                      </a:r>
                      <a:r>
                        <a:rPr lang="nb-NO" sz="1400" dirty="0" err="1"/>
                        <a:t>commence</a:t>
                      </a:r>
                      <a:r>
                        <a:rPr lang="nb-NO" sz="1400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N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695124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400" b="1" dirty="0" err="1"/>
                        <a:t>Plain</a:t>
                      </a:r>
                      <a:r>
                        <a:rPr lang="nb-NO" sz="1400" b="1" dirty="0"/>
                        <a:t> </a:t>
                      </a:r>
                      <a:r>
                        <a:rPr lang="nb-NO" sz="1400" b="1" dirty="0" err="1"/>
                        <a:t>pacs</a:t>
                      </a:r>
                      <a:endParaRPr lang="nb-NO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 err="1"/>
                        <a:t>Probably</a:t>
                      </a:r>
                      <a:endParaRPr lang="nb-NO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N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899353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400" b="1" dirty="0" err="1"/>
                        <a:t>Licensing</a:t>
                      </a:r>
                      <a:r>
                        <a:rPr lang="nb-NO" sz="1400" b="1" dirty="0"/>
                        <a:t> for sa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No, </a:t>
                      </a:r>
                      <a:r>
                        <a:rPr lang="nb-NO" sz="1400" dirty="0" err="1"/>
                        <a:t>but</a:t>
                      </a:r>
                      <a:r>
                        <a:rPr lang="nb-NO" sz="1400" dirty="0"/>
                        <a:t> </a:t>
                      </a:r>
                      <a:r>
                        <a:rPr lang="nb-NO" sz="1400" dirty="0" err="1"/>
                        <a:t>expected</a:t>
                      </a:r>
                      <a:endParaRPr lang="nb-NO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 err="1"/>
                        <a:t>Yes</a:t>
                      </a:r>
                      <a:endParaRPr lang="nb-NO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 err="1"/>
                        <a:t>Yes</a:t>
                      </a:r>
                      <a:endParaRPr lang="nb-NO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/>
                        <a:t>No</a:t>
                      </a:r>
                      <a:endParaRPr lang="nb-NO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729539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400" b="1" dirty="0"/>
                        <a:t>18 </a:t>
                      </a:r>
                      <a:r>
                        <a:rPr lang="nb-NO" sz="1400" b="1" dirty="0" err="1"/>
                        <a:t>year</a:t>
                      </a:r>
                      <a:r>
                        <a:rPr lang="nb-NO" sz="1400" b="1" dirty="0"/>
                        <a:t> lim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 err="1"/>
                        <a:t>Yes</a:t>
                      </a:r>
                      <a:endParaRPr lang="nb-NO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 err="1"/>
                        <a:t>yes</a:t>
                      </a:r>
                      <a:endParaRPr lang="nb-NO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 err="1"/>
                        <a:t>Yes</a:t>
                      </a:r>
                      <a:r>
                        <a:rPr lang="nb-NO" sz="1400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 err="1"/>
                        <a:t>Yes</a:t>
                      </a:r>
                      <a:endParaRPr lang="nb-NO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Y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54933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nb-NO" sz="1400" b="1" dirty="0" err="1"/>
                        <a:t>Flavours</a:t>
                      </a:r>
                      <a:endParaRPr lang="nb-NO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 err="1"/>
                        <a:t>Yes</a:t>
                      </a:r>
                      <a:endParaRPr lang="nb-NO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 err="1"/>
                        <a:t>Yes</a:t>
                      </a:r>
                      <a:endParaRPr lang="nb-NO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 err="1"/>
                        <a:t>Yes</a:t>
                      </a:r>
                      <a:endParaRPr lang="nb-NO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 err="1"/>
                        <a:t>Yes</a:t>
                      </a:r>
                      <a:endParaRPr lang="nb-NO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Y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3659194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8996943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16505D-65BC-4C74-B4E4-65AAFE7DDE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400" y="222229"/>
            <a:ext cx="11516400" cy="434029"/>
          </a:xfrm>
        </p:spPr>
        <p:txBody>
          <a:bodyPr anchor="b">
            <a:normAutofit/>
          </a:bodyPr>
          <a:lstStyle/>
          <a:p>
            <a:r>
              <a:rPr lang="nb-NO" dirty="0"/>
              <a:t>Danish Health </a:t>
            </a:r>
            <a:r>
              <a:rPr lang="nb-NO" dirty="0" err="1"/>
              <a:t>Authorities</a:t>
            </a:r>
            <a:endParaRPr lang="nb-NO" dirty="0"/>
          </a:p>
        </p:txBody>
      </p:sp>
      <p:pic>
        <p:nvPicPr>
          <p:cNvPr id="5" name="Picture 4" descr="Graphical user interface&#10;&#10;Description automatically generated">
            <a:extLst>
              <a:ext uri="{FF2B5EF4-FFF2-40B4-BE49-F238E27FC236}">
                <a16:creationId xmlns:a16="http://schemas.microsoft.com/office/drawing/2014/main" id="{0B64B234-54B9-4FFB-8160-F7238FAB964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1042" t="9063" r="41397" b="10115"/>
          <a:stretch/>
        </p:blipFill>
        <p:spPr>
          <a:xfrm>
            <a:off x="1341319" y="838606"/>
            <a:ext cx="3656134" cy="5258382"/>
          </a:xfrm>
          <a:prstGeom prst="rect">
            <a:avLst/>
          </a:prstGeom>
          <a:noFill/>
        </p:spPr>
      </p:pic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8FBA546-7B2D-4B7C-9AC3-D71CA6FE72C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99215" y="838606"/>
            <a:ext cx="5687986" cy="5258382"/>
          </a:xfrm>
        </p:spPr>
        <p:txBody>
          <a:bodyPr>
            <a:normAutofit fontScale="92500" lnSpcReduction="10000"/>
          </a:bodyPr>
          <a:lstStyle/>
          <a:p>
            <a:r>
              <a:rPr lang="nb-NO" dirty="0" err="1"/>
              <a:t>Nicotine</a:t>
            </a:r>
            <a:r>
              <a:rPr lang="nb-NO" dirty="0"/>
              <a:t> </a:t>
            </a:r>
            <a:r>
              <a:rPr lang="nb-NO" dirty="0" err="1"/>
              <a:t>Pouches</a:t>
            </a:r>
            <a:r>
              <a:rPr lang="nb-NO" dirty="0"/>
              <a:t>. Legal in </a:t>
            </a:r>
            <a:r>
              <a:rPr lang="nb-NO" dirty="0" err="1"/>
              <a:t>Denmark</a:t>
            </a:r>
            <a:r>
              <a:rPr lang="nb-NO" dirty="0"/>
              <a:t>. Sold in a </a:t>
            </a:r>
            <a:r>
              <a:rPr lang="nb-NO" dirty="0" err="1"/>
              <a:t>can</a:t>
            </a:r>
            <a:r>
              <a:rPr lang="nb-NO" dirty="0"/>
              <a:t> and </a:t>
            </a:r>
            <a:r>
              <a:rPr lang="nb-NO" dirty="0" err="1"/>
              <a:t>looks</a:t>
            </a:r>
            <a:r>
              <a:rPr lang="nb-NO" dirty="0"/>
              <a:t> like snus. The </a:t>
            </a:r>
            <a:r>
              <a:rPr lang="nb-NO" dirty="0" err="1"/>
              <a:t>difference</a:t>
            </a:r>
            <a:r>
              <a:rPr lang="nb-NO" dirty="0"/>
              <a:t> is </a:t>
            </a:r>
            <a:r>
              <a:rPr lang="nb-NO" dirty="0" err="1"/>
              <a:t>that</a:t>
            </a:r>
            <a:r>
              <a:rPr lang="nb-NO" dirty="0"/>
              <a:t> </a:t>
            </a:r>
            <a:r>
              <a:rPr lang="nb-NO" dirty="0" err="1"/>
              <a:t>there</a:t>
            </a:r>
            <a:r>
              <a:rPr lang="nb-NO" dirty="0"/>
              <a:t> is </a:t>
            </a:r>
            <a:r>
              <a:rPr lang="nb-NO" dirty="0" err="1"/>
              <a:t>no</a:t>
            </a:r>
            <a:r>
              <a:rPr lang="nb-NO" dirty="0"/>
              <a:t> </a:t>
            </a:r>
            <a:r>
              <a:rPr lang="nb-NO" dirty="0" err="1"/>
              <a:t>tobacco</a:t>
            </a:r>
            <a:r>
              <a:rPr lang="nb-NO" dirty="0"/>
              <a:t> in </a:t>
            </a:r>
            <a:r>
              <a:rPr lang="nb-NO" dirty="0" err="1"/>
              <a:t>the</a:t>
            </a:r>
            <a:r>
              <a:rPr lang="nb-NO" dirty="0"/>
              <a:t> </a:t>
            </a:r>
            <a:r>
              <a:rPr lang="nb-NO" dirty="0" err="1"/>
              <a:t>product</a:t>
            </a:r>
            <a:r>
              <a:rPr lang="nb-NO" dirty="0"/>
              <a:t>, and </a:t>
            </a:r>
            <a:r>
              <a:rPr lang="nb-NO" dirty="0" err="1"/>
              <a:t>that</a:t>
            </a:r>
            <a:r>
              <a:rPr lang="nb-NO" dirty="0"/>
              <a:t> it is not </a:t>
            </a:r>
            <a:r>
              <a:rPr lang="nb-NO" dirty="0" err="1"/>
              <a:t>carcinogenic</a:t>
            </a:r>
            <a:r>
              <a:rPr lang="nb-NO" dirty="0"/>
              <a:t>. </a:t>
            </a:r>
            <a:r>
              <a:rPr lang="nb-NO" dirty="0" err="1"/>
              <a:t>But</a:t>
            </a:r>
            <a:r>
              <a:rPr lang="nb-NO" dirty="0"/>
              <a:t> it is </a:t>
            </a:r>
            <a:r>
              <a:rPr lang="nb-NO" dirty="0" err="1"/>
              <a:t>addictive</a:t>
            </a:r>
            <a:r>
              <a:rPr lang="nb-NO" dirty="0"/>
              <a:t>. </a:t>
            </a:r>
          </a:p>
          <a:p>
            <a:endParaRPr lang="nb-NO" b="0" dirty="0"/>
          </a:p>
          <a:p>
            <a:endParaRPr lang="nb-NO" b="0" dirty="0"/>
          </a:p>
          <a:p>
            <a:endParaRPr lang="nb-NO" b="0" dirty="0"/>
          </a:p>
          <a:p>
            <a:endParaRPr lang="nb-NO" b="0" dirty="0"/>
          </a:p>
          <a:p>
            <a:endParaRPr lang="nb-NO" b="0" dirty="0"/>
          </a:p>
          <a:p>
            <a:endParaRPr lang="nb-NO" b="0" dirty="0"/>
          </a:p>
          <a:p>
            <a:endParaRPr lang="nb-NO" b="0" dirty="0"/>
          </a:p>
          <a:p>
            <a:endParaRPr lang="nb-NO" b="0" dirty="0"/>
          </a:p>
          <a:p>
            <a:pPr marL="0" indent="0">
              <a:buNone/>
            </a:pPr>
            <a:endParaRPr lang="nb-NO" sz="1050" b="0" dirty="0"/>
          </a:p>
          <a:p>
            <a:pPr marL="0" indent="0">
              <a:buNone/>
            </a:pPr>
            <a:endParaRPr lang="nb-NO" sz="1050" b="0" dirty="0"/>
          </a:p>
          <a:p>
            <a:pPr marL="0" indent="0">
              <a:buNone/>
            </a:pPr>
            <a:endParaRPr lang="nb-NO" sz="1050" b="0" dirty="0"/>
          </a:p>
          <a:p>
            <a:pPr marL="0" indent="0">
              <a:buNone/>
            </a:pPr>
            <a:endParaRPr lang="nb-NO" sz="1050" b="0" dirty="0"/>
          </a:p>
          <a:p>
            <a:pPr marL="0" indent="0">
              <a:buNone/>
            </a:pPr>
            <a:r>
              <a:rPr lang="nb-NO" sz="1050" b="0"/>
              <a:t>Source</a:t>
            </a:r>
            <a:r>
              <a:rPr lang="nb-NO" sz="1050" b="0" dirty="0"/>
              <a:t>: Danish Health </a:t>
            </a:r>
            <a:r>
              <a:rPr lang="nb-NO" sz="1050" b="0" dirty="0" err="1"/>
              <a:t>Authorities</a:t>
            </a:r>
            <a:r>
              <a:rPr lang="nb-NO" sz="1050" b="0" dirty="0"/>
              <a:t> in media </a:t>
            </a:r>
            <a:r>
              <a:rPr lang="nb-NO" sz="1050" b="0" dirty="0" err="1"/>
              <a:t>on</a:t>
            </a:r>
            <a:r>
              <a:rPr lang="nb-NO" sz="1050" b="0" dirty="0"/>
              <a:t> </a:t>
            </a:r>
            <a:r>
              <a:rPr lang="nb-NO" sz="1050" b="0" dirty="0" err="1"/>
              <a:t>Sept</a:t>
            </a:r>
            <a:r>
              <a:rPr lang="nb-NO" sz="1050" b="0" dirty="0"/>
              <a:t> 8th.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5E29046-1F33-4C6C-92E6-3F5C7B22A5C4}"/>
              </a:ext>
            </a:extLst>
          </p:cNvPr>
          <p:cNvSpPr/>
          <p:nvPr/>
        </p:nvSpPr>
        <p:spPr>
          <a:xfrm>
            <a:off x="1427747" y="4186989"/>
            <a:ext cx="3513221" cy="61762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933979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6E3DC95-865B-4610-874E-35B3D09366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705587" y="3129499"/>
            <a:ext cx="8784000" cy="599002"/>
          </a:xfrm>
        </p:spPr>
        <p:txBody>
          <a:bodyPr/>
          <a:lstStyle/>
          <a:p>
            <a:r>
              <a:rPr lang="en-GB" dirty="0" err="1"/>
              <a:t>Zyn</a:t>
            </a:r>
            <a:r>
              <a:rPr lang="en-GB" dirty="0"/>
              <a:t> nicotine pouches</a:t>
            </a:r>
          </a:p>
        </p:txBody>
      </p:sp>
    </p:spTree>
    <p:extLst>
      <p:ext uri="{BB962C8B-B14F-4D97-AF65-F5344CB8AC3E}">
        <p14:creationId xmlns:p14="http://schemas.microsoft.com/office/powerpoint/2010/main" val="66767470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3A0CDE-AD2A-4066-B8BF-384C7107B9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ow to use Nicotine pouches in fighting smoking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79C865-E7CB-483F-A13E-7BEFCB1ACB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5200" y="838606"/>
            <a:ext cx="6710081" cy="5258382"/>
          </a:xfrm>
        </p:spPr>
        <p:txBody>
          <a:bodyPr anchor="ctr"/>
          <a:lstStyle/>
          <a:p>
            <a:r>
              <a:rPr lang="en-GB" dirty="0"/>
              <a:t>Let the market do the job</a:t>
            </a:r>
          </a:p>
          <a:p>
            <a:pPr lvl="1"/>
            <a:r>
              <a:rPr lang="en-GB" sz="1400" b="0" dirty="0"/>
              <a:t>Harm reduction products can (and will) help people to quit smoking, if provided commercial opportunity</a:t>
            </a:r>
          </a:p>
          <a:p>
            <a:r>
              <a:rPr lang="en-GB" dirty="0"/>
              <a:t>Keep harm reduction products away from minors</a:t>
            </a:r>
          </a:p>
          <a:p>
            <a:pPr lvl="1"/>
            <a:r>
              <a:rPr lang="en-GB" sz="1400" b="0" dirty="0">
                <a:solidFill>
                  <a:schemeClr val="tx2"/>
                </a:solidFill>
              </a:rPr>
              <a:t>Licensing, age limit – strict rules for those selling</a:t>
            </a:r>
          </a:p>
          <a:p>
            <a:r>
              <a:rPr lang="en-GB" dirty="0"/>
              <a:t>Keep the flavours and attractiveness of alternative nicotine products</a:t>
            </a:r>
          </a:p>
          <a:p>
            <a:pPr lvl="1"/>
            <a:r>
              <a:rPr lang="en-GB" sz="1400" b="0" dirty="0">
                <a:solidFill>
                  <a:schemeClr val="tx2"/>
                </a:solidFill>
              </a:rPr>
              <a:t>Flavours will help more people switch from smoking</a:t>
            </a:r>
          </a:p>
          <a:p>
            <a:r>
              <a:rPr lang="en-GB" dirty="0"/>
              <a:t>Nicotine is important for consumers</a:t>
            </a:r>
          </a:p>
          <a:p>
            <a:pPr lvl="1"/>
            <a:r>
              <a:rPr lang="en-GB" sz="1400" b="0" dirty="0"/>
              <a:t>Nicotine ceiling at 20 mg/pouch will be sufficient for consumers and at the same time hinder super strong products from entering the market. </a:t>
            </a:r>
          </a:p>
          <a:p>
            <a:r>
              <a:rPr lang="en-GB" dirty="0"/>
              <a:t>Don’t make harm reduction the enemy, even if people start using the products</a:t>
            </a:r>
          </a:p>
          <a:p>
            <a:pPr lvl="1"/>
            <a:r>
              <a:rPr lang="en-GB" sz="1400" b="0" dirty="0"/>
              <a:t>That will only benefit traditional cigarettes. F</a:t>
            </a:r>
            <a:r>
              <a:rPr lang="en-US" sz="1400" b="0" dirty="0"/>
              <a:t>or those unwilling or unable to quite using nicotine, alternative reduced risk products is better |</a:t>
            </a:r>
            <a:r>
              <a:rPr lang="en-US" sz="1400" b="0" dirty="0" err="1"/>
              <a:t>xthan</a:t>
            </a:r>
            <a:r>
              <a:rPr lang="en-US" sz="1400" b="0" dirty="0"/>
              <a:t> continue using combustible products.</a:t>
            </a:r>
            <a:endParaRPr lang="en-GB" sz="1400" b="0" dirty="0"/>
          </a:p>
        </p:txBody>
      </p:sp>
      <p:pic>
        <p:nvPicPr>
          <p:cNvPr id="2050" name="Picture 2" descr="Swedish Match Zyn">
            <a:extLst>
              <a:ext uri="{FF2B5EF4-FFF2-40B4-BE49-F238E27FC236}">
                <a16:creationId xmlns:a16="http://schemas.microsoft.com/office/drawing/2014/main" id="{65FBA701-16CC-294C-B1E2-5AC4DEC6BF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8267" y="2080237"/>
            <a:ext cx="4043165" cy="2697525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348799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DF8470-DABE-4087-94BF-4BCD4E110A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istory of strategic transformation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B7B25104-ADC3-4593-885A-48117278389D}"/>
              </a:ext>
            </a:extLst>
          </p:cNvPr>
          <p:cNvCxnSpPr>
            <a:cxnSpLocks/>
          </p:cNvCxnSpPr>
          <p:nvPr/>
        </p:nvCxnSpPr>
        <p:spPr>
          <a:xfrm>
            <a:off x="395489" y="3074817"/>
            <a:ext cx="11404195" cy="0"/>
          </a:xfrm>
          <a:prstGeom prst="line">
            <a:avLst/>
          </a:prstGeom>
          <a:ln w="38100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44A3BB49-602F-463E-831A-F5C4F4826CD1}"/>
              </a:ext>
            </a:extLst>
          </p:cNvPr>
          <p:cNvSpPr txBox="1"/>
          <p:nvPr/>
        </p:nvSpPr>
        <p:spPr>
          <a:xfrm>
            <a:off x="395489" y="2524870"/>
            <a:ext cx="616882" cy="4462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buClr>
                <a:schemeClr val="accent3"/>
              </a:buClr>
            </a:pPr>
            <a:r>
              <a:rPr lang="en-US" sz="1400" b="1">
                <a:solidFill>
                  <a:schemeClr val="accent3"/>
                </a:solidFill>
              </a:rPr>
              <a:t>1999</a:t>
            </a:r>
          </a:p>
        </p:txBody>
      </p:sp>
      <p:pic>
        <p:nvPicPr>
          <p:cNvPr id="6" name="Picture 2" descr="Image result for no smoking">
            <a:extLst>
              <a:ext uri="{FF2B5EF4-FFF2-40B4-BE49-F238E27FC236}">
                <a16:creationId xmlns:a16="http://schemas.microsoft.com/office/drawing/2014/main" id="{15DA2F80-0B93-4EDE-99D2-50282084F9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875" y="855835"/>
            <a:ext cx="1079999" cy="1079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DCBB006-1887-4522-AE2A-AF64D579CA83}"/>
              </a:ext>
            </a:extLst>
          </p:cNvPr>
          <p:cNvSpPr txBox="1"/>
          <p:nvPr/>
        </p:nvSpPr>
        <p:spPr>
          <a:xfrm>
            <a:off x="395489" y="2039504"/>
            <a:ext cx="1984752" cy="93164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lvl="0"/>
            <a:r>
              <a:rPr lang="en-US" sz="1200" b="1">
                <a:solidFill>
                  <a:srgbClr val="075B79"/>
                </a:solidFill>
              </a:rPr>
              <a:t>Cigarette operations divested</a:t>
            </a:r>
          </a:p>
          <a:p>
            <a:pPr marL="252000" indent="-252000">
              <a:buClr>
                <a:schemeClr val="accent3"/>
              </a:buClr>
              <a:buFont typeface="Courier New" panose="02070309020205020404" pitchFamily="49" charset="0"/>
              <a:buChar char="o"/>
            </a:pPr>
            <a:endParaRPr lang="en-US" sz="1400" err="1">
              <a:solidFill>
                <a:schemeClr val="tx2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F3C24D5-55A5-4C39-A885-8DAC10C2E787}"/>
              </a:ext>
            </a:extLst>
          </p:cNvPr>
          <p:cNvSpPr txBox="1"/>
          <p:nvPr/>
        </p:nvSpPr>
        <p:spPr>
          <a:xfrm>
            <a:off x="824387" y="3237004"/>
            <a:ext cx="616882" cy="4462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buClr>
                <a:schemeClr val="accent3"/>
              </a:buClr>
            </a:pPr>
            <a:r>
              <a:rPr lang="en-US" sz="1400" b="1">
                <a:solidFill>
                  <a:schemeClr val="accent3"/>
                </a:solidFill>
              </a:rPr>
              <a:t>2000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67934F8-4096-4DFA-BA78-C43FCAAC8385}"/>
              </a:ext>
            </a:extLst>
          </p:cNvPr>
          <p:cNvSpPr txBox="1"/>
          <p:nvPr/>
        </p:nvSpPr>
        <p:spPr>
          <a:xfrm>
            <a:off x="824387" y="3596398"/>
            <a:ext cx="2123997" cy="93164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lvl="0"/>
            <a:r>
              <a:rPr lang="en-US" sz="1200" b="1" dirty="0">
                <a:solidFill>
                  <a:schemeClr val="accent4"/>
                </a:solidFill>
              </a:rPr>
              <a:t>GOTHIATEK established</a:t>
            </a:r>
          </a:p>
          <a:p>
            <a:pPr marL="252000" indent="-252000">
              <a:buClr>
                <a:schemeClr val="accent3"/>
              </a:buClr>
              <a:buFont typeface="Courier New" panose="02070309020205020404" pitchFamily="49" charset="0"/>
              <a:buChar char="o"/>
            </a:pPr>
            <a:endParaRPr lang="en-US" sz="1400" dirty="0">
              <a:solidFill>
                <a:schemeClr val="tx2"/>
              </a:solidFill>
            </a:endParaRPr>
          </a:p>
        </p:txBody>
      </p:sp>
      <p:pic>
        <p:nvPicPr>
          <p:cNvPr id="12" name="Picture 11" descr="A picture containing drawing&#10;&#10;Description automatically generated">
            <a:extLst>
              <a:ext uri="{FF2B5EF4-FFF2-40B4-BE49-F238E27FC236}">
                <a16:creationId xmlns:a16="http://schemas.microsoft.com/office/drawing/2014/main" id="{5E0E04E8-1F73-4842-8928-867BA3D8253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377" y="3981244"/>
            <a:ext cx="1256431" cy="1057496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F0A92FA4-87A2-4A42-B956-5CEA2EEE1F5A}"/>
              </a:ext>
            </a:extLst>
          </p:cNvPr>
          <p:cNvSpPr txBox="1"/>
          <p:nvPr/>
        </p:nvSpPr>
        <p:spPr>
          <a:xfrm>
            <a:off x="2296352" y="2524869"/>
            <a:ext cx="616882" cy="4462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buClr>
                <a:schemeClr val="accent3"/>
              </a:buClr>
            </a:pPr>
            <a:r>
              <a:rPr lang="en-US" sz="1400" b="1">
                <a:solidFill>
                  <a:schemeClr val="accent3"/>
                </a:solidFill>
              </a:rPr>
              <a:t>2009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BD87620-EFF2-4E46-8768-29D9179FA824}"/>
              </a:ext>
            </a:extLst>
          </p:cNvPr>
          <p:cNvSpPr txBox="1"/>
          <p:nvPr/>
        </p:nvSpPr>
        <p:spPr>
          <a:xfrm>
            <a:off x="2284487" y="2039504"/>
            <a:ext cx="1984752" cy="51373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200" b="1" dirty="0">
                <a:solidFill>
                  <a:schemeClr val="accent4"/>
                </a:solidFill>
              </a:rPr>
              <a:t>Pipe tobacco operations in South Africa divested</a:t>
            </a:r>
          </a:p>
          <a:p>
            <a:pPr marL="252000" indent="-252000">
              <a:buClr>
                <a:schemeClr val="accent3"/>
              </a:buClr>
              <a:buFont typeface="Courier New" panose="02070309020205020404" pitchFamily="49" charset="0"/>
              <a:buChar char="o"/>
            </a:pPr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FEA25AF-2ED6-4047-8516-B5B5B9D25CF7}"/>
              </a:ext>
            </a:extLst>
          </p:cNvPr>
          <p:cNvSpPr txBox="1"/>
          <p:nvPr/>
        </p:nvSpPr>
        <p:spPr>
          <a:xfrm>
            <a:off x="3064667" y="3237004"/>
            <a:ext cx="616882" cy="4462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buClr>
                <a:schemeClr val="accent3"/>
              </a:buClr>
            </a:pPr>
            <a:r>
              <a:rPr lang="en-US" sz="1400" b="1">
                <a:solidFill>
                  <a:schemeClr val="accent3"/>
                </a:solidFill>
              </a:rPr>
              <a:t>2010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3242F48-3D8E-4896-B3B2-8C75BC9AEB1B}"/>
              </a:ext>
            </a:extLst>
          </p:cNvPr>
          <p:cNvSpPr txBox="1"/>
          <p:nvPr/>
        </p:nvSpPr>
        <p:spPr>
          <a:xfrm>
            <a:off x="3064667" y="3596398"/>
            <a:ext cx="2486304" cy="144233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lvl="0"/>
            <a:r>
              <a:rPr lang="en-US" sz="1200" b="1" dirty="0">
                <a:solidFill>
                  <a:schemeClr val="accent4"/>
                </a:solidFill>
              </a:rPr>
              <a:t>Creation of new STG (cigars, pipe tobacco, fine cut tobacco) and simultaneous divestment of Swedish Match premium cigar, European cigar, and pipe tobacco businesses</a:t>
            </a:r>
          </a:p>
          <a:p>
            <a:pPr>
              <a:buClr>
                <a:schemeClr val="accent3"/>
              </a:buClr>
            </a:pPr>
            <a:endParaRPr lang="en-US" sz="1400" dirty="0">
              <a:solidFill>
                <a:schemeClr val="tx2"/>
              </a:solidFill>
            </a:endParaRPr>
          </a:p>
        </p:txBody>
      </p:sp>
      <p:pic>
        <p:nvPicPr>
          <p:cNvPr id="17" name="Picture 11" descr="Image result for scandinavian tobacco group">
            <a:extLst>
              <a:ext uri="{FF2B5EF4-FFF2-40B4-BE49-F238E27FC236}">
                <a16:creationId xmlns:a16="http://schemas.microsoft.com/office/drawing/2014/main" id="{48BE89C1-02FB-4771-B7CF-DA2908F2645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745" b="18568"/>
          <a:stretch/>
        </p:blipFill>
        <p:spPr bwMode="auto">
          <a:xfrm>
            <a:off x="3165251" y="4893436"/>
            <a:ext cx="2127984" cy="7144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F4963433-FEDA-406A-997F-D8CB6D046FF9}"/>
              </a:ext>
            </a:extLst>
          </p:cNvPr>
          <p:cNvSpPr txBox="1"/>
          <p:nvPr/>
        </p:nvSpPr>
        <p:spPr>
          <a:xfrm>
            <a:off x="4365755" y="2527871"/>
            <a:ext cx="616882" cy="4462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buClr>
                <a:schemeClr val="accent3"/>
              </a:buClr>
            </a:pPr>
            <a:r>
              <a:rPr lang="en-US" sz="1400" b="1">
                <a:solidFill>
                  <a:schemeClr val="accent3"/>
                </a:solidFill>
              </a:rPr>
              <a:t>2014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29A8906-6147-4497-B810-00D58A2D78E6}"/>
              </a:ext>
            </a:extLst>
          </p:cNvPr>
          <p:cNvSpPr txBox="1"/>
          <p:nvPr/>
        </p:nvSpPr>
        <p:spPr>
          <a:xfrm>
            <a:off x="4365755" y="2039505"/>
            <a:ext cx="1984752" cy="59733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lvl="0"/>
            <a:r>
              <a:rPr lang="en-US" sz="1200" b="1" dirty="0">
                <a:solidFill>
                  <a:srgbClr val="075B79"/>
                </a:solidFill>
              </a:rPr>
              <a:t>New Company Vision: A world without cigarettes</a:t>
            </a:r>
          </a:p>
          <a:p>
            <a:pPr marL="252000" indent="-252000">
              <a:buClr>
                <a:schemeClr val="accent3"/>
              </a:buClr>
              <a:buFont typeface="Courier New" panose="02070309020205020404" pitchFamily="49" charset="0"/>
              <a:buChar char="o"/>
            </a:pPr>
            <a:endParaRPr lang="en-US" sz="1400" dirty="0">
              <a:solidFill>
                <a:schemeClr val="tx2"/>
              </a:solidFill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E83F56E-BDB9-4ED3-82D4-2508ACC346A0}"/>
              </a:ext>
            </a:extLst>
          </p:cNvPr>
          <p:cNvGrpSpPr/>
          <p:nvPr/>
        </p:nvGrpSpPr>
        <p:grpSpPr>
          <a:xfrm>
            <a:off x="4779160" y="903773"/>
            <a:ext cx="1080000" cy="1079999"/>
            <a:chOff x="10070346" y="3552084"/>
            <a:chExt cx="1440000" cy="1440000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A20C6DD8-FB7A-4071-812D-C7D92030B5A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070346" y="3552084"/>
              <a:ext cx="1440000" cy="14400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26"/>
              <a:endParaRPr lang="sv-SE" sz="1799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03A317B9-5D60-49E7-8184-91E9A9FE065D}"/>
                </a:ext>
              </a:extLst>
            </p:cNvPr>
            <p:cNvSpPr txBox="1"/>
            <p:nvPr/>
          </p:nvSpPr>
          <p:spPr>
            <a:xfrm>
              <a:off x="10333265" y="3815003"/>
              <a:ext cx="914162" cy="91416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 defTabSz="914126">
                <a:buClr>
                  <a:srgbClr val="D48127"/>
                </a:buClr>
              </a:pPr>
              <a:r>
                <a:rPr lang="sv-SE" sz="1100" b="1">
                  <a:solidFill>
                    <a:srgbClr val="075B79"/>
                  </a:solidFill>
                  <a:latin typeface="Arial"/>
                </a:rPr>
                <a:t>A WORLD</a:t>
              </a:r>
            </a:p>
            <a:p>
              <a:pPr algn="ctr" defTabSz="914126">
                <a:buClr>
                  <a:srgbClr val="D48127"/>
                </a:buClr>
              </a:pPr>
              <a:r>
                <a:rPr lang="sv-SE" sz="1100" b="1">
                  <a:solidFill>
                    <a:srgbClr val="075B79"/>
                  </a:solidFill>
                  <a:latin typeface="Arial"/>
                </a:rPr>
                <a:t>WITHOUT</a:t>
              </a:r>
            </a:p>
            <a:p>
              <a:pPr algn="ctr" defTabSz="914126">
                <a:buClr>
                  <a:srgbClr val="D48127"/>
                </a:buClr>
              </a:pPr>
              <a:r>
                <a:rPr lang="sv-SE" sz="1100" b="1">
                  <a:solidFill>
                    <a:srgbClr val="075B79"/>
                  </a:solidFill>
                  <a:latin typeface="Arial"/>
                </a:rPr>
                <a:t>CIGARETTES</a:t>
              </a:r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A633333A-1331-4882-8DE4-9165F3F4AE8A}"/>
              </a:ext>
            </a:extLst>
          </p:cNvPr>
          <p:cNvSpPr txBox="1"/>
          <p:nvPr/>
        </p:nvSpPr>
        <p:spPr>
          <a:xfrm>
            <a:off x="5801178" y="3237004"/>
            <a:ext cx="616882" cy="4462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buClr>
                <a:schemeClr val="accent3"/>
              </a:buClr>
            </a:pPr>
            <a:r>
              <a:rPr lang="en-US" sz="1400" b="1">
                <a:solidFill>
                  <a:schemeClr val="accent3"/>
                </a:solidFill>
              </a:rPr>
              <a:t>2016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8B662F7-39E5-4144-843F-DC2D44CA5116}"/>
              </a:ext>
            </a:extLst>
          </p:cNvPr>
          <p:cNvSpPr txBox="1"/>
          <p:nvPr/>
        </p:nvSpPr>
        <p:spPr>
          <a:xfrm>
            <a:off x="5801178" y="3596398"/>
            <a:ext cx="2486304" cy="144233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200" b="1" dirty="0">
                <a:solidFill>
                  <a:schemeClr val="accent4"/>
                </a:solidFill>
              </a:rPr>
              <a:t>Reduced shareholding in STG in connection with the listing of STG on Nasdaq Copenhagen; remaining shares sold in 2017</a:t>
            </a:r>
          </a:p>
          <a:p>
            <a:endParaRPr lang="en-US" sz="1200" b="1" dirty="0">
              <a:solidFill>
                <a:schemeClr val="accent4"/>
              </a:solidFill>
            </a:endParaRPr>
          </a:p>
          <a:p>
            <a:r>
              <a:rPr lang="en-US" sz="1200" b="1" dirty="0">
                <a:solidFill>
                  <a:schemeClr val="tx2"/>
                </a:solidFill>
              </a:rPr>
              <a:t>Launch of ZYN nicotine pouches in the US</a:t>
            </a:r>
          </a:p>
          <a:p>
            <a:endParaRPr lang="en-US" sz="1200" b="1" dirty="0">
              <a:solidFill>
                <a:srgbClr val="075B79"/>
              </a:solidFill>
            </a:endParaRPr>
          </a:p>
          <a:p>
            <a:pPr lvl="0"/>
            <a:endParaRPr lang="en-US" sz="1200" b="1" dirty="0">
              <a:solidFill>
                <a:srgbClr val="075B79"/>
              </a:solidFill>
            </a:endParaRPr>
          </a:p>
          <a:p>
            <a:pPr>
              <a:buClr>
                <a:schemeClr val="accent3"/>
              </a:buClr>
            </a:pPr>
            <a:endParaRPr lang="en-US" sz="1400" dirty="0">
              <a:solidFill>
                <a:schemeClr val="tx2"/>
              </a:solidFill>
            </a:endParaRPr>
          </a:p>
        </p:txBody>
      </p:sp>
      <p:grpSp>
        <p:nvGrpSpPr>
          <p:cNvPr id="131" name="Group 130">
            <a:extLst>
              <a:ext uri="{FF2B5EF4-FFF2-40B4-BE49-F238E27FC236}">
                <a16:creationId xmlns:a16="http://schemas.microsoft.com/office/drawing/2014/main" id="{4F5DA68B-5F36-497E-945C-EFB8FFCB43B1}"/>
              </a:ext>
            </a:extLst>
          </p:cNvPr>
          <p:cNvGrpSpPr/>
          <p:nvPr/>
        </p:nvGrpSpPr>
        <p:grpSpPr>
          <a:xfrm>
            <a:off x="6561350" y="5055398"/>
            <a:ext cx="1482040" cy="1031554"/>
            <a:chOff x="5592415" y="4087010"/>
            <a:chExt cx="3071140" cy="1931837"/>
          </a:xfrm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D79D7A8E-8B39-4B16-A013-5C59A302377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592415" y="4087010"/>
              <a:ext cx="2926493" cy="1827587"/>
              <a:chOff x="4669849" y="1309160"/>
              <a:chExt cx="6914335" cy="4317983"/>
            </a:xfrm>
            <a:solidFill>
              <a:schemeClr val="accent4">
                <a:lumMod val="60000"/>
                <a:lumOff val="40000"/>
              </a:schemeClr>
            </a:solidFill>
          </p:grpSpPr>
          <p:sp>
            <p:nvSpPr>
              <p:cNvPr id="79" name="Shape 1385">
                <a:extLst>
                  <a:ext uri="{FF2B5EF4-FFF2-40B4-BE49-F238E27FC236}">
                    <a16:creationId xmlns:a16="http://schemas.microsoft.com/office/drawing/2014/main" id="{1305D19D-D13C-4E3C-BCE0-32F149E196E8}"/>
                  </a:ext>
                </a:extLst>
              </p:cNvPr>
              <p:cNvSpPr/>
              <p:nvPr/>
            </p:nvSpPr>
            <p:spPr>
              <a:xfrm>
                <a:off x="5008828" y="1309160"/>
                <a:ext cx="886244" cy="657708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20000" y="29684"/>
                    </a:moveTo>
                    <a:cubicBezTo>
                      <a:pt x="120000" y="29684"/>
                      <a:pt x="108793" y="101684"/>
                      <a:pt x="106459" y="105473"/>
                    </a:cubicBezTo>
                    <a:cubicBezTo>
                      <a:pt x="104591" y="109894"/>
                      <a:pt x="106926" y="108631"/>
                      <a:pt x="106926" y="113052"/>
                    </a:cubicBezTo>
                    <a:cubicBezTo>
                      <a:pt x="106926" y="116842"/>
                      <a:pt x="105992" y="120000"/>
                      <a:pt x="105992" y="120000"/>
                    </a:cubicBezTo>
                    <a:cubicBezTo>
                      <a:pt x="75175" y="109263"/>
                      <a:pt x="75175" y="109263"/>
                      <a:pt x="75175" y="109263"/>
                    </a:cubicBezTo>
                    <a:cubicBezTo>
                      <a:pt x="70038" y="108631"/>
                      <a:pt x="70038" y="108631"/>
                      <a:pt x="70038" y="108631"/>
                    </a:cubicBezTo>
                    <a:cubicBezTo>
                      <a:pt x="68171" y="109263"/>
                      <a:pt x="68171" y="109263"/>
                      <a:pt x="68171" y="109263"/>
                    </a:cubicBezTo>
                    <a:cubicBezTo>
                      <a:pt x="65836" y="108631"/>
                      <a:pt x="65836" y="108631"/>
                      <a:pt x="65836" y="108631"/>
                    </a:cubicBezTo>
                    <a:cubicBezTo>
                      <a:pt x="63968" y="109263"/>
                      <a:pt x="63968" y="109263"/>
                      <a:pt x="63968" y="109263"/>
                    </a:cubicBezTo>
                    <a:cubicBezTo>
                      <a:pt x="50428" y="109894"/>
                      <a:pt x="50428" y="109894"/>
                      <a:pt x="50428" y="109894"/>
                    </a:cubicBezTo>
                    <a:cubicBezTo>
                      <a:pt x="49027" y="108631"/>
                      <a:pt x="49027" y="108631"/>
                      <a:pt x="49027" y="108631"/>
                    </a:cubicBezTo>
                    <a:cubicBezTo>
                      <a:pt x="47626" y="109263"/>
                      <a:pt x="47626" y="109263"/>
                      <a:pt x="47626" y="109263"/>
                    </a:cubicBezTo>
                    <a:cubicBezTo>
                      <a:pt x="46225" y="109894"/>
                      <a:pt x="46225" y="109894"/>
                      <a:pt x="46225" y="109894"/>
                    </a:cubicBezTo>
                    <a:cubicBezTo>
                      <a:pt x="45291" y="109894"/>
                      <a:pt x="45291" y="109894"/>
                      <a:pt x="45291" y="109894"/>
                    </a:cubicBezTo>
                    <a:cubicBezTo>
                      <a:pt x="43891" y="109263"/>
                      <a:pt x="43891" y="109263"/>
                      <a:pt x="43891" y="109263"/>
                    </a:cubicBezTo>
                    <a:cubicBezTo>
                      <a:pt x="43891" y="108631"/>
                      <a:pt x="43891" y="108631"/>
                      <a:pt x="43891" y="108631"/>
                    </a:cubicBezTo>
                    <a:cubicBezTo>
                      <a:pt x="41556" y="108631"/>
                      <a:pt x="41556" y="108631"/>
                      <a:pt x="41556" y="108631"/>
                    </a:cubicBezTo>
                    <a:cubicBezTo>
                      <a:pt x="40155" y="108000"/>
                      <a:pt x="40155" y="108000"/>
                      <a:pt x="40155" y="108000"/>
                    </a:cubicBezTo>
                    <a:cubicBezTo>
                      <a:pt x="39688" y="106736"/>
                      <a:pt x="39688" y="106736"/>
                      <a:pt x="39688" y="106736"/>
                    </a:cubicBezTo>
                    <a:cubicBezTo>
                      <a:pt x="39688" y="106105"/>
                      <a:pt x="39688" y="106105"/>
                      <a:pt x="39688" y="106105"/>
                    </a:cubicBezTo>
                    <a:cubicBezTo>
                      <a:pt x="37821" y="105473"/>
                      <a:pt x="37821" y="105473"/>
                      <a:pt x="37821" y="105473"/>
                    </a:cubicBezTo>
                    <a:cubicBezTo>
                      <a:pt x="34085" y="104210"/>
                      <a:pt x="34085" y="104210"/>
                      <a:pt x="34085" y="104210"/>
                    </a:cubicBezTo>
                    <a:cubicBezTo>
                      <a:pt x="31750" y="102947"/>
                      <a:pt x="31750" y="102947"/>
                      <a:pt x="31750" y="102947"/>
                    </a:cubicBezTo>
                    <a:cubicBezTo>
                      <a:pt x="30817" y="102315"/>
                      <a:pt x="30817" y="102315"/>
                      <a:pt x="30817" y="102315"/>
                    </a:cubicBezTo>
                    <a:cubicBezTo>
                      <a:pt x="28015" y="102947"/>
                      <a:pt x="28015" y="102947"/>
                      <a:pt x="28015" y="102947"/>
                    </a:cubicBezTo>
                    <a:cubicBezTo>
                      <a:pt x="23813" y="104210"/>
                      <a:pt x="23813" y="104210"/>
                      <a:pt x="23813" y="104210"/>
                    </a:cubicBezTo>
                    <a:cubicBezTo>
                      <a:pt x="18677" y="102315"/>
                      <a:pt x="18677" y="102315"/>
                      <a:pt x="18677" y="102315"/>
                    </a:cubicBezTo>
                    <a:cubicBezTo>
                      <a:pt x="15408" y="98526"/>
                      <a:pt x="15408" y="98526"/>
                      <a:pt x="15408" y="98526"/>
                    </a:cubicBezTo>
                    <a:cubicBezTo>
                      <a:pt x="15408" y="98526"/>
                      <a:pt x="16809" y="94105"/>
                      <a:pt x="16342" y="88421"/>
                    </a:cubicBezTo>
                    <a:cubicBezTo>
                      <a:pt x="15875" y="82105"/>
                      <a:pt x="13540" y="80842"/>
                      <a:pt x="13540" y="80842"/>
                    </a:cubicBezTo>
                    <a:cubicBezTo>
                      <a:pt x="11206" y="80842"/>
                      <a:pt x="11206" y="80842"/>
                      <a:pt x="11206" y="80842"/>
                    </a:cubicBezTo>
                    <a:cubicBezTo>
                      <a:pt x="9338" y="79578"/>
                      <a:pt x="9338" y="79578"/>
                      <a:pt x="9338" y="79578"/>
                    </a:cubicBezTo>
                    <a:cubicBezTo>
                      <a:pt x="9338" y="79578"/>
                      <a:pt x="9338" y="75789"/>
                      <a:pt x="7003" y="75789"/>
                    </a:cubicBezTo>
                    <a:cubicBezTo>
                      <a:pt x="4669" y="75789"/>
                      <a:pt x="4669" y="75789"/>
                      <a:pt x="4669" y="75789"/>
                    </a:cubicBezTo>
                    <a:cubicBezTo>
                      <a:pt x="1867" y="75157"/>
                      <a:pt x="1867" y="75157"/>
                      <a:pt x="1867" y="75157"/>
                    </a:cubicBezTo>
                    <a:cubicBezTo>
                      <a:pt x="0" y="73263"/>
                      <a:pt x="0" y="73263"/>
                      <a:pt x="0" y="73263"/>
                    </a:cubicBezTo>
                    <a:cubicBezTo>
                      <a:pt x="466" y="68842"/>
                      <a:pt x="466" y="68842"/>
                      <a:pt x="466" y="68842"/>
                    </a:cubicBezTo>
                    <a:cubicBezTo>
                      <a:pt x="1400" y="65052"/>
                      <a:pt x="1400" y="65052"/>
                      <a:pt x="1400" y="65052"/>
                    </a:cubicBezTo>
                    <a:cubicBezTo>
                      <a:pt x="1867" y="64421"/>
                      <a:pt x="1867" y="64421"/>
                      <a:pt x="1867" y="64421"/>
                    </a:cubicBezTo>
                    <a:cubicBezTo>
                      <a:pt x="2334" y="66315"/>
                      <a:pt x="2334" y="66315"/>
                      <a:pt x="2334" y="66315"/>
                    </a:cubicBezTo>
                    <a:cubicBezTo>
                      <a:pt x="2801" y="66947"/>
                      <a:pt x="2801" y="66947"/>
                      <a:pt x="2801" y="66947"/>
                    </a:cubicBezTo>
                    <a:cubicBezTo>
                      <a:pt x="3268" y="66315"/>
                      <a:pt x="3268" y="66315"/>
                      <a:pt x="3268" y="66315"/>
                    </a:cubicBezTo>
                    <a:cubicBezTo>
                      <a:pt x="3268" y="63789"/>
                      <a:pt x="3268" y="63789"/>
                      <a:pt x="3268" y="63789"/>
                    </a:cubicBezTo>
                    <a:cubicBezTo>
                      <a:pt x="5136" y="62526"/>
                      <a:pt x="5136" y="62526"/>
                      <a:pt x="5136" y="62526"/>
                    </a:cubicBezTo>
                    <a:cubicBezTo>
                      <a:pt x="5136" y="61894"/>
                      <a:pt x="5136" y="61894"/>
                      <a:pt x="5136" y="61894"/>
                    </a:cubicBezTo>
                    <a:cubicBezTo>
                      <a:pt x="4202" y="60631"/>
                      <a:pt x="4202" y="60631"/>
                      <a:pt x="4202" y="60631"/>
                    </a:cubicBezTo>
                    <a:cubicBezTo>
                      <a:pt x="3735" y="60000"/>
                      <a:pt x="3735" y="60000"/>
                      <a:pt x="3735" y="60000"/>
                    </a:cubicBezTo>
                    <a:cubicBezTo>
                      <a:pt x="3268" y="55578"/>
                      <a:pt x="3268" y="55578"/>
                      <a:pt x="3268" y="55578"/>
                    </a:cubicBezTo>
                    <a:cubicBezTo>
                      <a:pt x="6536" y="54947"/>
                      <a:pt x="6536" y="54947"/>
                      <a:pt x="6536" y="54947"/>
                    </a:cubicBezTo>
                    <a:cubicBezTo>
                      <a:pt x="7470" y="53684"/>
                      <a:pt x="7470" y="53684"/>
                      <a:pt x="7470" y="53684"/>
                    </a:cubicBezTo>
                    <a:cubicBezTo>
                      <a:pt x="4669" y="50526"/>
                      <a:pt x="4669" y="50526"/>
                      <a:pt x="4669" y="50526"/>
                    </a:cubicBezTo>
                    <a:cubicBezTo>
                      <a:pt x="3735" y="49263"/>
                      <a:pt x="3735" y="49263"/>
                      <a:pt x="3735" y="49263"/>
                    </a:cubicBezTo>
                    <a:cubicBezTo>
                      <a:pt x="2801" y="40421"/>
                      <a:pt x="2801" y="40421"/>
                      <a:pt x="2801" y="40421"/>
                    </a:cubicBezTo>
                    <a:cubicBezTo>
                      <a:pt x="2801" y="37894"/>
                      <a:pt x="2801" y="37894"/>
                      <a:pt x="2801" y="37894"/>
                    </a:cubicBezTo>
                    <a:cubicBezTo>
                      <a:pt x="3735" y="37263"/>
                      <a:pt x="3735" y="37263"/>
                      <a:pt x="3735" y="37263"/>
                    </a:cubicBezTo>
                    <a:cubicBezTo>
                      <a:pt x="3735" y="25894"/>
                      <a:pt x="3735" y="25894"/>
                      <a:pt x="3735" y="25894"/>
                    </a:cubicBezTo>
                    <a:cubicBezTo>
                      <a:pt x="1400" y="23368"/>
                      <a:pt x="1400" y="23368"/>
                      <a:pt x="1400" y="23368"/>
                    </a:cubicBezTo>
                    <a:cubicBezTo>
                      <a:pt x="1400" y="14526"/>
                      <a:pt x="1400" y="14526"/>
                      <a:pt x="1400" y="14526"/>
                    </a:cubicBezTo>
                    <a:cubicBezTo>
                      <a:pt x="3735" y="10736"/>
                      <a:pt x="3735" y="10736"/>
                      <a:pt x="3735" y="10736"/>
                    </a:cubicBezTo>
                    <a:cubicBezTo>
                      <a:pt x="4669" y="6315"/>
                      <a:pt x="4669" y="6315"/>
                      <a:pt x="4669" y="6315"/>
                    </a:cubicBezTo>
                    <a:cubicBezTo>
                      <a:pt x="9805" y="13263"/>
                      <a:pt x="9805" y="13263"/>
                      <a:pt x="9805" y="13263"/>
                    </a:cubicBezTo>
                    <a:cubicBezTo>
                      <a:pt x="15408" y="18947"/>
                      <a:pt x="15408" y="18947"/>
                      <a:pt x="15408" y="18947"/>
                    </a:cubicBezTo>
                    <a:cubicBezTo>
                      <a:pt x="19610" y="21473"/>
                      <a:pt x="19610" y="21473"/>
                      <a:pt x="19610" y="21473"/>
                    </a:cubicBezTo>
                    <a:cubicBezTo>
                      <a:pt x="22879" y="22736"/>
                      <a:pt x="22879" y="22736"/>
                      <a:pt x="22879" y="22736"/>
                    </a:cubicBezTo>
                    <a:cubicBezTo>
                      <a:pt x="24280" y="22736"/>
                      <a:pt x="24280" y="22736"/>
                      <a:pt x="24280" y="22736"/>
                    </a:cubicBezTo>
                    <a:cubicBezTo>
                      <a:pt x="25680" y="22736"/>
                      <a:pt x="25680" y="22736"/>
                      <a:pt x="25680" y="22736"/>
                    </a:cubicBezTo>
                    <a:cubicBezTo>
                      <a:pt x="26614" y="27157"/>
                      <a:pt x="26614" y="27157"/>
                      <a:pt x="26614" y="27157"/>
                    </a:cubicBezTo>
                    <a:cubicBezTo>
                      <a:pt x="30350" y="26526"/>
                      <a:pt x="30350" y="26526"/>
                      <a:pt x="30350" y="26526"/>
                    </a:cubicBezTo>
                    <a:cubicBezTo>
                      <a:pt x="30817" y="32842"/>
                      <a:pt x="30817" y="32842"/>
                      <a:pt x="30817" y="32842"/>
                    </a:cubicBezTo>
                    <a:cubicBezTo>
                      <a:pt x="29416" y="35368"/>
                      <a:pt x="29416" y="35368"/>
                      <a:pt x="29416" y="35368"/>
                    </a:cubicBezTo>
                    <a:cubicBezTo>
                      <a:pt x="25214" y="38526"/>
                      <a:pt x="25214" y="38526"/>
                      <a:pt x="25214" y="38526"/>
                    </a:cubicBezTo>
                    <a:cubicBezTo>
                      <a:pt x="22412" y="43578"/>
                      <a:pt x="22412" y="43578"/>
                      <a:pt x="22412" y="43578"/>
                    </a:cubicBezTo>
                    <a:cubicBezTo>
                      <a:pt x="21478" y="46105"/>
                      <a:pt x="21478" y="46105"/>
                      <a:pt x="21478" y="46105"/>
                    </a:cubicBezTo>
                    <a:cubicBezTo>
                      <a:pt x="22412" y="46736"/>
                      <a:pt x="22412" y="46736"/>
                      <a:pt x="22412" y="46736"/>
                    </a:cubicBezTo>
                    <a:cubicBezTo>
                      <a:pt x="24280" y="44210"/>
                      <a:pt x="24280" y="44210"/>
                      <a:pt x="24280" y="44210"/>
                    </a:cubicBezTo>
                    <a:cubicBezTo>
                      <a:pt x="25680" y="41684"/>
                      <a:pt x="25680" y="41684"/>
                      <a:pt x="25680" y="41684"/>
                    </a:cubicBezTo>
                    <a:cubicBezTo>
                      <a:pt x="29883" y="37894"/>
                      <a:pt x="29883" y="37894"/>
                      <a:pt x="29883" y="37894"/>
                    </a:cubicBezTo>
                    <a:cubicBezTo>
                      <a:pt x="32684" y="36000"/>
                      <a:pt x="32684" y="36000"/>
                      <a:pt x="32684" y="36000"/>
                    </a:cubicBezTo>
                    <a:cubicBezTo>
                      <a:pt x="32217" y="38526"/>
                      <a:pt x="32217" y="38526"/>
                      <a:pt x="32217" y="38526"/>
                    </a:cubicBezTo>
                    <a:cubicBezTo>
                      <a:pt x="30817" y="40421"/>
                      <a:pt x="30817" y="40421"/>
                      <a:pt x="30817" y="40421"/>
                    </a:cubicBezTo>
                    <a:cubicBezTo>
                      <a:pt x="28949" y="46736"/>
                      <a:pt x="28949" y="46736"/>
                      <a:pt x="28949" y="46736"/>
                    </a:cubicBezTo>
                    <a:cubicBezTo>
                      <a:pt x="24280" y="50526"/>
                      <a:pt x="24280" y="50526"/>
                      <a:pt x="24280" y="50526"/>
                    </a:cubicBezTo>
                    <a:cubicBezTo>
                      <a:pt x="21478" y="54315"/>
                      <a:pt x="21478" y="54315"/>
                      <a:pt x="21478" y="54315"/>
                    </a:cubicBezTo>
                    <a:cubicBezTo>
                      <a:pt x="21478" y="57473"/>
                      <a:pt x="21478" y="57473"/>
                      <a:pt x="21478" y="57473"/>
                    </a:cubicBezTo>
                    <a:cubicBezTo>
                      <a:pt x="23346" y="58105"/>
                      <a:pt x="23346" y="58105"/>
                      <a:pt x="23346" y="58105"/>
                    </a:cubicBezTo>
                    <a:cubicBezTo>
                      <a:pt x="25680" y="54947"/>
                      <a:pt x="25680" y="54947"/>
                      <a:pt x="25680" y="54947"/>
                    </a:cubicBezTo>
                    <a:cubicBezTo>
                      <a:pt x="28015" y="52421"/>
                      <a:pt x="28015" y="52421"/>
                      <a:pt x="28015" y="52421"/>
                    </a:cubicBezTo>
                    <a:cubicBezTo>
                      <a:pt x="30350" y="51789"/>
                      <a:pt x="30350" y="51789"/>
                      <a:pt x="30350" y="51789"/>
                    </a:cubicBezTo>
                    <a:cubicBezTo>
                      <a:pt x="32217" y="49263"/>
                      <a:pt x="32217" y="49263"/>
                      <a:pt x="32217" y="49263"/>
                    </a:cubicBezTo>
                    <a:cubicBezTo>
                      <a:pt x="33151" y="42947"/>
                      <a:pt x="33151" y="42947"/>
                      <a:pt x="33151" y="42947"/>
                    </a:cubicBezTo>
                    <a:cubicBezTo>
                      <a:pt x="35019" y="37894"/>
                      <a:pt x="35019" y="37894"/>
                      <a:pt x="35019" y="37894"/>
                    </a:cubicBezTo>
                    <a:cubicBezTo>
                      <a:pt x="37354" y="34105"/>
                      <a:pt x="37354" y="34105"/>
                      <a:pt x="37354" y="34105"/>
                    </a:cubicBezTo>
                    <a:cubicBezTo>
                      <a:pt x="37821" y="31578"/>
                      <a:pt x="37821" y="31578"/>
                      <a:pt x="37821" y="31578"/>
                    </a:cubicBezTo>
                    <a:cubicBezTo>
                      <a:pt x="36420" y="26526"/>
                      <a:pt x="36420" y="26526"/>
                      <a:pt x="36420" y="26526"/>
                    </a:cubicBezTo>
                    <a:cubicBezTo>
                      <a:pt x="36420" y="21473"/>
                      <a:pt x="36420" y="21473"/>
                      <a:pt x="36420" y="21473"/>
                    </a:cubicBezTo>
                    <a:cubicBezTo>
                      <a:pt x="35019" y="22105"/>
                      <a:pt x="35019" y="22105"/>
                      <a:pt x="35019" y="22105"/>
                    </a:cubicBezTo>
                    <a:cubicBezTo>
                      <a:pt x="34085" y="24000"/>
                      <a:pt x="34085" y="24000"/>
                      <a:pt x="34085" y="24000"/>
                    </a:cubicBezTo>
                    <a:cubicBezTo>
                      <a:pt x="34552" y="29052"/>
                      <a:pt x="34552" y="29052"/>
                      <a:pt x="34552" y="29052"/>
                    </a:cubicBezTo>
                    <a:cubicBezTo>
                      <a:pt x="35486" y="32842"/>
                      <a:pt x="35486" y="32842"/>
                      <a:pt x="35486" y="32842"/>
                    </a:cubicBezTo>
                    <a:cubicBezTo>
                      <a:pt x="35486" y="34105"/>
                      <a:pt x="35486" y="34105"/>
                      <a:pt x="35486" y="34105"/>
                    </a:cubicBezTo>
                    <a:cubicBezTo>
                      <a:pt x="34552" y="33473"/>
                      <a:pt x="34552" y="33473"/>
                      <a:pt x="34552" y="33473"/>
                    </a:cubicBezTo>
                    <a:cubicBezTo>
                      <a:pt x="33618" y="32210"/>
                      <a:pt x="33618" y="32210"/>
                      <a:pt x="33618" y="32210"/>
                    </a:cubicBezTo>
                    <a:cubicBezTo>
                      <a:pt x="32684" y="29052"/>
                      <a:pt x="32684" y="29052"/>
                      <a:pt x="32684" y="29052"/>
                    </a:cubicBezTo>
                    <a:cubicBezTo>
                      <a:pt x="31750" y="25894"/>
                      <a:pt x="31750" y="25894"/>
                      <a:pt x="31750" y="25894"/>
                    </a:cubicBezTo>
                    <a:cubicBezTo>
                      <a:pt x="31750" y="23368"/>
                      <a:pt x="31750" y="23368"/>
                      <a:pt x="31750" y="23368"/>
                    </a:cubicBezTo>
                    <a:cubicBezTo>
                      <a:pt x="34085" y="20210"/>
                      <a:pt x="34085" y="20210"/>
                      <a:pt x="34085" y="20210"/>
                    </a:cubicBezTo>
                    <a:cubicBezTo>
                      <a:pt x="35019" y="17684"/>
                      <a:pt x="35019" y="17684"/>
                      <a:pt x="35019" y="17684"/>
                    </a:cubicBezTo>
                    <a:cubicBezTo>
                      <a:pt x="34552" y="15157"/>
                      <a:pt x="34552" y="15157"/>
                      <a:pt x="34552" y="15157"/>
                    </a:cubicBezTo>
                    <a:cubicBezTo>
                      <a:pt x="36887" y="18315"/>
                      <a:pt x="36887" y="18315"/>
                      <a:pt x="36887" y="18315"/>
                    </a:cubicBezTo>
                    <a:cubicBezTo>
                      <a:pt x="37354" y="18947"/>
                      <a:pt x="37354" y="18947"/>
                      <a:pt x="37354" y="18947"/>
                    </a:cubicBezTo>
                    <a:cubicBezTo>
                      <a:pt x="37821" y="15157"/>
                      <a:pt x="37821" y="15157"/>
                      <a:pt x="37821" y="15157"/>
                    </a:cubicBezTo>
                    <a:cubicBezTo>
                      <a:pt x="36887" y="9473"/>
                      <a:pt x="36887" y="9473"/>
                      <a:pt x="36887" y="9473"/>
                    </a:cubicBezTo>
                    <a:cubicBezTo>
                      <a:pt x="37354" y="7578"/>
                      <a:pt x="37354" y="7578"/>
                      <a:pt x="37354" y="7578"/>
                    </a:cubicBezTo>
                    <a:cubicBezTo>
                      <a:pt x="35953" y="6947"/>
                      <a:pt x="35953" y="6947"/>
                      <a:pt x="35953" y="6947"/>
                    </a:cubicBezTo>
                    <a:cubicBezTo>
                      <a:pt x="35486" y="0"/>
                      <a:pt x="35486" y="0"/>
                      <a:pt x="35486" y="0"/>
                    </a:cubicBezTo>
                    <a:cubicBezTo>
                      <a:pt x="35486" y="0"/>
                      <a:pt x="62101" y="10105"/>
                      <a:pt x="67704" y="12000"/>
                    </a:cubicBezTo>
                    <a:cubicBezTo>
                      <a:pt x="72840" y="13894"/>
                      <a:pt x="107392" y="26526"/>
                      <a:pt x="109727" y="27157"/>
                    </a:cubicBezTo>
                    <a:cubicBezTo>
                      <a:pt x="112062" y="28421"/>
                      <a:pt x="114863" y="28421"/>
                      <a:pt x="114863" y="28421"/>
                    </a:cubicBezTo>
                    <a:lnTo>
                      <a:pt x="120000" y="29684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80" name="Shape 1386">
                <a:extLst>
                  <a:ext uri="{FF2B5EF4-FFF2-40B4-BE49-F238E27FC236}">
                    <a16:creationId xmlns:a16="http://schemas.microsoft.com/office/drawing/2014/main" id="{878B7F2A-5EC7-4959-A6F3-36380274AF21}"/>
                  </a:ext>
                </a:extLst>
              </p:cNvPr>
              <p:cNvSpPr/>
              <p:nvPr/>
            </p:nvSpPr>
            <p:spPr>
              <a:xfrm>
                <a:off x="6332066" y="3625430"/>
                <a:ext cx="931169" cy="955920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7894" y="0"/>
                    </a:moveTo>
                    <a:lnTo>
                      <a:pt x="119999" y="11794"/>
                    </a:lnTo>
                    <a:lnTo>
                      <a:pt x="119473" y="22564"/>
                    </a:lnTo>
                    <a:lnTo>
                      <a:pt x="117894" y="22564"/>
                    </a:lnTo>
                    <a:lnTo>
                      <a:pt x="110526" y="115897"/>
                    </a:lnTo>
                    <a:lnTo>
                      <a:pt x="47894" y="110256"/>
                    </a:lnTo>
                    <a:lnTo>
                      <a:pt x="47368" y="114871"/>
                    </a:lnTo>
                    <a:lnTo>
                      <a:pt x="16842" y="111794"/>
                    </a:lnTo>
                    <a:lnTo>
                      <a:pt x="15263" y="120000"/>
                    </a:lnTo>
                    <a:lnTo>
                      <a:pt x="0" y="117948"/>
                    </a:lnTo>
                    <a:lnTo>
                      <a:pt x="17894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81" name="Shape 1387">
                <a:extLst>
                  <a:ext uri="{FF2B5EF4-FFF2-40B4-BE49-F238E27FC236}">
                    <a16:creationId xmlns:a16="http://schemas.microsoft.com/office/drawing/2014/main" id="{058D02C2-5EA7-4F5B-9B9E-A9F186F18F19}"/>
                  </a:ext>
                </a:extLst>
              </p:cNvPr>
              <p:cNvSpPr/>
              <p:nvPr/>
            </p:nvSpPr>
            <p:spPr>
              <a:xfrm>
                <a:off x="6679211" y="3805175"/>
                <a:ext cx="1846001" cy="1821968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18407" y="68071"/>
                    </a:moveTo>
                    <a:lnTo>
                      <a:pt x="118938" y="65919"/>
                    </a:lnTo>
                    <a:lnTo>
                      <a:pt x="120000" y="64573"/>
                    </a:lnTo>
                    <a:lnTo>
                      <a:pt x="119469" y="62959"/>
                    </a:lnTo>
                    <a:lnTo>
                      <a:pt x="118938" y="60807"/>
                    </a:lnTo>
                    <a:lnTo>
                      <a:pt x="118672" y="59999"/>
                    </a:lnTo>
                    <a:lnTo>
                      <a:pt x="118672" y="58385"/>
                    </a:lnTo>
                    <a:lnTo>
                      <a:pt x="118407" y="57847"/>
                    </a:lnTo>
                    <a:lnTo>
                      <a:pt x="117345" y="55426"/>
                    </a:lnTo>
                    <a:lnTo>
                      <a:pt x="117345" y="54887"/>
                    </a:lnTo>
                    <a:lnTo>
                      <a:pt x="115486" y="53273"/>
                    </a:lnTo>
                    <a:lnTo>
                      <a:pt x="115486" y="35246"/>
                    </a:lnTo>
                    <a:lnTo>
                      <a:pt x="112831" y="34977"/>
                    </a:lnTo>
                    <a:lnTo>
                      <a:pt x="112300" y="35515"/>
                    </a:lnTo>
                    <a:lnTo>
                      <a:pt x="111504" y="35246"/>
                    </a:lnTo>
                    <a:lnTo>
                      <a:pt x="110707" y="34439"/>
                    </a:lnTo>
                    <a:lnTo>
                      <a:pt x="109646" y="33901"/>
                    </a:lnTo>
                    <a:lnTo>
                      <a:pt x="108318" y="33901"/>
                    </a:lnTo>
                    <a:lnTo>
                      <a:pt x="106725" y="32825"/>
                    </a:lnTo>
                    <a:lnTo>
                      <a:pt x="105663" y="31479"/>
                    </a:lnTo>
                    <a:lnTo>
                      <a:pt x="104336" y="31210"/>
                    </a:lnTo>
                    <a:lnTo>
                      <a:pt x="102212" y="31748"/>
                    </a:lnTo>
                    <a:lnTo>
                      <a:pt x="101681" y="31479"/>
                    </a:lnTo>
                    <a:lnTo>
                      <a:pt x="100353" y="31210"/>
                    </a:lnTo>
                    <a:lnTo>
                      <a:pt x="99292" y="32017"/>
                    </a:lnTo>
                    <a:lnTo>
                      <a:pt x="98761" y="32286"/>
                    </a:lnTo>
                    <a:lnTo>
                      <a:pt x="97964" y="31748"/>
                    </a:lnTo>
                    <a:lnTo>
                      <a:pt x="96902" y="31748"/>
                    </a:lnTo>
                    <a:lnTo>
                      <a:pt x="96371" y="32556"/>
                    </a:lnTo>
                    <a:lnTo>
                      <a:pt x="95044" y="33363"/>
                    </a:lnTo>
                    <a:lnTo>
                      <a:pt x="93982" y="33632"/>
                    </a:lnTo>
                    <a:lnTo>
                      <a:pt x="93451" y="32825"/>
                    </a:lnTo>
                    <a:lnTo>
                      <a:pt x="92654" y="32017"/>
                    </a:lnTo>
                    <a:lnTo>
                      <a:pt x="90530" y="32286"/>
                    </a:lnTo>
                    <a:lnTo>
                      <a:pt x="89203" y="31479"/>
                    </a:lnTo>
                    <a:lnTo>
                      <a:pt x="88141" y="31748"/>
                    </a:lnTo>
                    <a:lnTo>
                      <a:pt x="87610" y="32825"/>
                    </a:lnTo>
                    <a:lnTo>
                      <a:pt x="87079" y="33094"/>
                    </a:lnTo>
                    <a:lnTo>
                      <a:pt x="86814" y="31748"/>
                    </a:lnTo>
                    <a:lnTo>
                      <a:pt x="86283" y="31210"/>
                    </a:lnTo>
                    <a:lnTo>
                      <a:pt x="84690" y="32286"/>
                    </a:lnTo>
                    <a:lnTo>
                      <a:pt x="84424" y="31210"/>
                    </a:lnTo>
                    <a:lnTo>
                      <a:pt x="82831" y="30134"/>
                    </a:lnTo>
                    <a:lnTo>
                      <a:pt x="82300" y="30134"/>
                    </a:lnTo>
                    <a:lnTo>
                      <a:pt x="81769" y="30941"/>
                    </a:lnTo>
                    <a:lnTo>
                      <a:pt x="80973" y="31479"/>
                    </a:lnTo>
                    <a:lnTo>
                      <a:pt x="80176" y="31210"/>
                    </a:lnTo>
                    <a:lnTo>
                      <a:pt x="79911" y="29865"/>
                    </a:lnTo>
                    <a:lnTo>
                      <a:pt x="79115" y="29865"/>
                    </a:lnTo>
                    <a:lnTo>
                      <a:pt x="78318" y="28251"/>
                    </a:lnTo>
                    <a:lnTo>
                      <a:pt x="76194" y="28251"/>
                    </a:lnTo>
                    <a:lnTo>
                      <a:pt x="75398" y="28789"/>
                    </a:lnTo>
                    <a:lnTo>
                      <a:pt x="74601" y="27982"/>
                    </a:lnTo>
                    <a:lnTo>
                      <a:pt x="74336" y="27982"/>
                    </a:lnTo>
                    <a:lnTo>
                      <a:pt x="73008" y="28251"/>
                    </a:lnTo>
                    <a:lnTo>
                      <a:pt x="71415" y="27174"/>
                    </a:lnTo>
                    <a:lnTo>
                      <a:pt x="69292" y="27174"/>
                    </a:lnTo>
                    <a:lnTo>
                      <a:pt x="68761" y="25291"/>
                    </a:lnTo>
                    <a:lnTo>
                      <a:pt x="67699" y="24753"/>
                    </a:lnTo>
                    <a:lnTo>
                      <a:pt x="67168" y="25022"/>
                    </a:lnTo>
                    <a:lnTo>
                      <a:pt x="66371" y="24753"/>
                    </a:lnTo>
                    <a:lnTo>
                      <a:pt x="65575" y="25022"/>
                    </a:lnTo>
                    <a:lnTo>
                      <a:pt x="64778" y="25022"/>
                    </a:lnTo>
                    <a:lnTo>
                      <a:pt x="64247" y="24215"/>
                    </a:lnTo>
                    <a:lnTo>
                      <a:pt x="62389" y="22331"/>
                    </a:lnTo>
                    <a:lnTo>
                      <a:pt x="63451" y="1614"/>
                    </a:lnTo>
                    <a:lnTo>
                      <a:pt x="36902" y="0"/>
                    </a:lnTo>
                    <a:lnTo>
                      <a:pt x="33185" y="48968"/>
                    </a:lnTo>
                    <a:lnTo>
                      <a:pt x="1592" y="46008"/>
                    </a:lnTo>
                    <a:lnTo>
                      <a:pt x="1327" y="48430"/>
                    </a:lnTo>
                    <a:lnTo>
                      <a:pt x="0" y="48430"/>
                    </a:lnTo>
                    <a:lnTo>
                      <a:pt x="530" y="49237"/>
                    </a:lnTo>
                    <a:lnTo>
                      <a:pt x="1858" y="50044"/>
                    </a:lnTo>
                    <a:lnTo>
                      <a:pt x="2654" y="51121"/>
                    </a:lnTo>
                    <a:lnTo>
                      <a:pt x="2920" y="51928"/>
                    </a:lnTo>
                    <a:lnTo>
                      <a:pt x="3451" y="53004"/>
                    </a:lnTo>
                    <a:lnTo>
                      <a:pt x="3982" y="53273"/>
                    </a:lnTo>
                    <a:lnTo>
                      <a:pt x="4778" y="53811"/>
                    </a:lnTo>
                    <a:lnTo>
                      <a:pt x="5575" y="54349"/>
                    </a:lnTo>
                    <a:lnTo>
                      <a:pt x="5840" y="55156"/>
                    </a:lnTo>
                    <a:lnTo>
                      <a:pt x="6902" y="56502"/>
                    </a:lnTo>
                    <a:lnTo>
                      <a:pt x="7964" y="57309"/>
                    </a:lnTo>
                    <a:lnTo>
                      <a:pt x="10088" y="60269"/>
                    </a:lnTo>
                    <a:lnTo>
                      <a:pt x="10884" y="60269"/>
                    </a:lnTo>
                    <a:lnTo>
                      <a:pt x="11681" y="61076"/>
                    </a:lnTo>
                    <a:lnTo>
                      <a:pt x="12743" y="61883"/>
                    </a:lnTo>
                    <a:lnTo>
                      <a:pt x="14070" y="62959"/>
                    </a:lnTo>
                    <a:lnTo>
                      <a:pt x="14601" y="64035"/>
                    </a:lnTo>
                    <a:lnTo>
                      <a:pt x="14601" y="65919"/>
                    </a:lnTo>
                    <a:lnTo>
                      <a:pt x="15663" y="67533"/>
                    </a:lnTo>
                    <a:lnTo>
                      <a:pt x="15929" y="68609"/>
                    </a:lnTo>
                    <a:lnTo>
                      <a:pt x="15663" y="69686"/>
                    </a:lnTo>
                    <a:lnTo>
                      <a:pt x="15663" y="71031"/>
                    </a:lnTo>
                    <a:lnTo>
                      <a:pt x="15929" y="72645"/>
                    </a:lnTo>
                    <a:lnTo>
                      <a:pt x="17256" y="73991"/>
                    </a:lnTo>
                    <a:lnTo>
                      <a:pt x="17522" y="74798"/>
                    </a:lnTo>
                    <a:lnTo>
                      <a:pt x="17787" y="75067"/>
                    </a:lnTo>
                    <a:lnTo>
                      <a:pt x="18318" y="75605"/>
                    </a:lnTo>
                    <a:lnTo>
                      <a:pt x="18849" y="76143"/>
                    </a:lnTo>
                    <a:lnTo>
                      <a:pt x="19646" y="76950"/>
                    </a:lnTo>
                    <a:lnTo>
                      <a:pt x="20707" y="77757"/>
                    </a:lnTo>
                    <a:lnTo>
                      <a:pt x="21504" y="78565"/>
                    </a:lnTo>
                    <a:lnTo>
                      <a:pt x="22300" y="78834"/>
                    </a:lnTo>
                    <a:lnTo>
                      <a:pt x="23362" y="79641"/>
                    </a:lnTo>
                    <a:lnTo>
                      <a:pt x="24955" y="80448"/>
                    </a:lnTo>
                    <a:lnTo>
                      <a:pt x="26814" y="81793"/>
                    </a:lnTo>
                    <a:lnTo>
                      <a:pt x="27610" y="82062"/>
                    </a:lnTo>
                    <a:lnTo>
                      <a:pt x="28938" y="82600"/>
                    </a:lnTo>
                    <a:lnTo>
                      <a:pt x="30000" y="82600"/>
                    </a:lnTo>
                    <a:lnTo>
                      <a:pt x="30530" y="81524"/>
                    </a:lnTo>
                    <a:lnTo>
                      <a:pt x="31327" y="80717"/>
                    </a:lnTo>
                    <a:lnTo>
                      <a:pt x="31858" y="80179"/>
                    </a:lnTo>
                    <a:lnTo>
                      <a:pt x="32654" y="79910"/>
                    </a:lnTo>
                    <a:lnTo>
                      <a:pt x="32654" y="78565"/>
                    </a:lnTo>
                    <a:lnTo>
                      <a:pt x="33185" y="77488"/>
                    </a:lnTo>
                    <a:lnTo>
                      <a:pt x="33716" y="76143"/>
                    </a:lnTo>
                    <a:lnTo>
                      <a:pt x="35044" y="74529"/>
                    </a:lnTo>
                    <a:lnTo>
                      <a:pt x="36902" y="74260"/>
                    </a:lnTo>
                    <a:lnTo>
                      <a:pt x="37964" y="73991"/>
                    </a:lnTo>
                    <a:lnTo>
                      <a:pt x="39292" y="73991"/>
                    </a:lnTo>
                    <a:lnTo>
                      <a:pt x="40619" y="74529"/>
                    </a:lnTo>
                    <a:lnTo>
                      <a:pt x="42212" y="74798"/>
                    </a:lnTo>
                    <a:lnTo>
                      <a:pt x="43008" y="74798"/>
                    </a:lnTo>
                    <a:lnTo>
                      <a:pt x="45132" y="75067"/>
                    </a:lnTo>
                    <a:lnTo>
                      <a:pt x="45929" y="75605"/>
                    </a:lnTo>
                    <a:lnTo>
                      <a:pt x="46725" y="77219"/>
                    </a:lnTo>
                    <a:lnTo>
                      <a:pt x="47256" y="77219"/>
                    </a:lnTo>
                    <a:lnTo>
                      <a:pt x="48584" y="78565"/>
                    </a:lnTo>
                    <a:lnTo>
                      <a:pt x="49646" y="79103"/>
                    </a:lnTo>
                    <a:lnTo>
                      <a:pt x="50442" y="80717"/>
                    </a:lnTo>
                    <a:lnTo>
                      <a:pt x="52035" y="82869"/>
                    </a:lnTo>
                    <a:lnTo>
                      <a:pt x="53097" y="86098"/>
                    </a:lnTo>
                    <a:lnTo>
                      <a:pt x="53893" y="87174"/>
                    </a:lnTo>
                    <a:lnTo>
                      <a:pt x="54955" y="89327"/>
                    </a:lnTo>
                    <a:lnTo>
                      <a:pt x="54955" y="90134"/>
                    </a:lnTo>
                    <a:lnTo>
                      <a:pt x="55752" y="92286"/>
                    </a:lnTo>
                    <a:lnTo>
                      <a:pt x="57876" y="94170"/>
                    </a:lnTo>
                    <a:lnTo>
                      <a:pt x="58407" y="96322"/>
                    </a:lnTo>
                    <a:lnTo>
                      <a:pt x="61061" y="99551"/>
                    </a:lnTo>
                    <a:lnTo>
                      <a:pt x="62389" y="100089"/>
                    </a:lnTo>
                    <a:lnTo>
                      <a:pt x="62123" y="102511"/>
                    </a:lnTo>
                    <a:lnTo>
                      <a:pt x="61592" y="103049"/>
                    </a:lnTo>
                    <a:lnTo>
                      <a:pt x="62123" y="103587"/>
                    </a:lnTo>
                    <a:lnTo>
                      <a:pt x="62920" y="104394"/>
                    </a:lnTo>
                    <a:lnTo>
                      <a:pt x="62920" y="106008"/>
                    </a:lnTo>
                    <a:lnTo>
                      <a:pt x="64513" y="108968"/>
                    </a:lnTo>
                    <a:lnTo>
                      <a:pt x="65309" y="110582"/>
                    </a:lnTo>
                    <a:lnTo>
                      <a:pt x="66106" y="111928"/>
                    </a:lnTo>
                    <a:lnTo>
                      <a:pt x="66637" y="113273"/>
                    </a:lnTo>
                    <a:lnTo>
                      <a:pt x="68761" y="113542"/>
                    </a:lnTo>
                    <a:lnTo>
                      <a:pt x="70088" y="114887"/>
                    </a:lnTo>
                    <a:lnTo>
                      <a:pt x="72477" y="114887"/>
                    </a:lnTo>
                    <a:lnTo>
                      <a:pt x="74336" y="116771"/>
                    </a:lnTo>
                    <a:lnTo>
                      <a:pt x="75398" y="116771"/>
                    </a:lnTo>
                    <a:lnTo>
                      <a:pt x="75929" y="117578"/>
                    </a:lnTo>
                    <a:lnTo>
                      <a:pt x="77256" y="117847"/>
                    </a:lnTo>
                    <a:lnTo>
                      <a:pt x="77522" y="117309"/>
                    </a:lnTo>
                    <a:lnTo>
                      <a:pt x="80176" y="117847"/>
                    </a:lnTo>
                    <a:lnTo>
                      <a:pt x="80176" y="118116"/>
                    </a:lnTo>
                    <a:lnTo>
                      <a:pt x="80973" y="118923"/>
                    </a:lnTo>
                    <a:lnTo>
                      <a:pt x="82300" y="119999"/>
                    </a:lnTo>
                    <a:lnTo>
                      <a:pt x="83097" y="119461"/>
                    </a:lnTo>
                    <a:lnTo>
                      <a:pt x="83362" y="118923"/>
                    </a:lnTo>
                    <a:lnTo>
                      <a:pt x="85221" y="118654"/>
                    </a:lnTo>
                    <a:lnTo>
                      <a:pt x="84690" y="117309"/>
                    </a:lnTo>
                    <a:lnTo>
                      <a:pt x="84690" y="116502"/>
                    </a:lnTo>
                    <a:lnTo>
                      <a:pt x="84424" y="115426"/>
                    </a:lnTo>
                    <a:lnTo>
                      <a:pt x="84159" y="114349"/>
                    </a:lnTo>
                    <a:lnTo>
                      <a:pt x="83362" y="113811"/>
                    </a:lnTo>
                    <a:lnTo>
                      <a:pt x="82831" y="112197"/>
                    </a:lnTo>
                    <a:lnTo>
                      <a:pt x="82566" y="110582"/>
                    </a:lnTo>
                    <a:lnTo>
                      <a:pt x="81769" y="108699"/>
                    </a:lnTo>
                    <a:lnTo>
                      <a:pt x="81769" y="107085"/>
                    </a:lnTo>
                    <a:lnTo>
                      <a:pt x="82566" y="104663"/>
                    </a:lnTo>
                    <a:lnTo>
                      <a:pt x="83362" y="102242"/>
                    </a:lnTo>
                    <a:lnTo>
                      <a:pt x="84424" y="99551"/>
                    </a:lnTo>
                    <a:lnTo>
                      <a:pt x="84159" y="99013"/>
                    </a:lnTo>
                    <a:lnTo>
                      <a:pt x="83362" y="98475"/>
                    </a:lnTo>
                    <a:lnTo>
                      <a:pt x="82566" y="97668"/>
                    </a:lnTo>
                    <a:lnTo>
                      <a:pt x="82566" y="97130"/>
                    </a:lnTo>
                    <a:lnTo>
                      <a:pt x="83097" y="97399"/>
                    </a:lnTo>
                    <a:lnTo>
                      <a:pt x="85486" y="97130"/>
                    </a:lnTo>
                    <a:lnTo>
                      <a:pt x="85752" y="97130"/>
                    </a:lnTo>
                    <a:lnTo>
                      <a:pt x="86548" y="95515"/>
                    </a:lnTo>
                    <a:lnTo>
                      <a:pt x="85752" y="95515"/>
                    </a:lnTo>
                    <a:lnTo>
                      <a:pt x="85486" y="94977"/>
                    </a:lnTo>
                    <a:lnTo>
                      <a:pt x="85486" y="94439"/>
                    </a:lnTo>
                    <a:lnTo>
                      <a:pt x="86017" y="94170"/>
                    </a:lnTo>
                    <a:lnTo>
                      <a:pt x="87079" y="94170"/>
                    </a:lnTo>
                    <a:lnTo>
                      <a:pt x="88407" y="94170"/>
                    </a:lnTo>
                    <a:lnTo>
                      <a:pt x="88938" y="94439"/>
                    </a:lnTo>
                    <a:lnTo>
                      <a:pt x="89734" y="94170"/>
                    </a:lnTo>
                    <a:lnTo>
                      <a:pt x="91061" y="93094"/>
                    </a:lnTo>
                    <a:lnTo>
                      <a:pt x="90530" y="93094"/>
                    </a:lnTo>
                    <a:lnTo>
                      <a:pt x="89469" y="93901"/>
                    </a:lnTo>
                    <a:lnTo>
                      <a:pt x="89203" y="92825"/>
                    </a:lnTo>
                    <a:lnTo>
                      <a:pt x="89734" y="91210"/>
                    </a:lnTo>
                    <a:lnTo>
                      <a:pt x="90265" y="91748"/>
                    </a:lnTo>
                    <a:lnTo>
                      <a:pt x="90796" y="92017"/>
                    </a:lnTo>
                    <a:lnTo>
                      <a:pt x="92123" y="92017"/>
                    </a:lnTo>
                    <a:lnTo>
                      <a:pt x="92654" y="91479"/>
                    </a:lnTo>
                    <a:lnTo>
                      <a:pt x="92389" y="90403"/>
                    </a:lnTo>
                    <a:lnTo>
                      <a:pt x="91592" y="89327"/>
                    </a:lnTo>
                    <a:lnTo>
                      <a:pt x="91858" y="89058"/>
                    </a:lnTo>
                    <a:lnTo>
                      <a:pt x="92654" y="89058"/>
                    </a:lnTo>
                    <a:lnTo>
                      <a:pt x="93451" y="88520"/>
                    </a:lnTo>
                    <a:lnTo>
                      <a:pt x="93982" y="89058"/>
                    </a:lnTo>
                    <a:lnTo>
                      <a:pt x="94778" y="88520"/>
                    </a:lnTo>
                    <a:lnTo>
                      <a:pt x="95044" y="89058"/>
                    </a:lnTo>
                    <a:lnTo>
                      <a:pt x="95840" y="89596"/>
                    </a:lnTo>
                    <a:lnTo>
                      <a:pt x="96637" y="89058"/>
                    </a:lnTo>
                    <a:lnTo>
                      <a:pt x="97433" y="88520"/>
                    </a:lnTo>
                    <a:lnTo>
                      <a:pt x="99292" y="87982"/>
                    </a:lnTo>
                    <a:lnTo>
                      <a:pt x="101150" y="87713"/>
                    </a:lnTo>
                    <a:lnTo>
                      <a:pt x="104070" y="86098"/>
                    </a:lnTo>
                    <a:lnTo>
                      <a:pt x="104867" y="84484"/>
                    </a:lnTo>
                    <a:lnTo>
                      <a:pt x="105132" y="83139"/>
                    </a:lnTo>
                    <a:lnTo>
                      <a:pt x="105929" y="82600"/>
                    </a:lnTo>
                    <a:lnTo>
                      <a:pt x="106725" y="82331"/>
                    </a:lnTo>
                    <a:lnTo>
                      <a:pt x="106991" y="82062"/>
                    </a:lnTo>
                    <a:lnTo>
                      <a:pt x="107787" y="81524"/>
                    </a:lnTo>
                    <a:lnTo>
                      <a:pt x="107522" y="80717"/>
                    </a:lnTo>
                    <a:lnTo>
                      <a:pt x="107256" y="79910"/>
                    </a:lnTo>
                    <a:lnTo>
                      <a:pt x="106991" y="79641"/>
                    </a:lnTo>
                    <a:lnTo>
                      <a:pt x="106725" y="79103"/>
                    </a:lnTo>
                    <a:lnTo>
                      <a:pt x="106991" y="78295"/>
                    </a:lnTo>
                    <a:lnTo>
                      <a:pt x="108053" y="77488"/>
                    </a:lnTo>
                    <a:lnTo>
                      <a:pt x="108849" y="76950"/>
                    </a:lnTo>
                    <a:lnTo>
                      <a:pt x="109380" y="76950"/>
                    </a:lnTo>
                    <a:lnTo>
                      <a:pt x="109380" y="77757"/>
                    </a:lnTo>
                    <a:lnTo>
                      <a:pt x="109380" y="78834"/>
                    </a:lnTo>
                    <a:lnTo>
                      <a:pt x="109380" y="80448"/>
                    </a:lnTo>
                    <a:lnTo>
                      <a:pt x="109646" y="80717"/>
                    </a:lnTo>
                    <a:lnTo>
                      <a:pt x="111238" y="79372"/>
                    </a:lnTo>
                    <a:lnTo>
                      <a:pt x="112566" y="79103"/>
                    </a:lnTo>
                    <a:lnTo>
                      <a:pt x="116548" y="77488"/>
                    </a:lnTo>
                    <a:lnTo>
                      <a:pt x="117079" y="77219"/>
                    </a:lnTo>
                    <a:lnTo>
                      <a:pt x="117876" y="75874"/>
                    </a:lnTo>
                    <a:lnTo>
                      <a:pt x="118672" y="73183"/>
                    </a:lnTo>
                    <a:lnTo>
                      <a:pt x="118672" y="72107"/>
                    </a:lnTo>
                    <a:lnTo>
                      <a:pt x="117876" y="70224"/>
                    </a:lnTo>
                    <a:lnTo>
                      <a:pt x="118407" y="68878"/>
                    </a:lnTo>
                    <a:lnTo>
                      <a:pt x="118407" y="68071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82" name="Shape 1388">
                <a:extLst>
                  <a:ext uri="{FF2B5EF4-FFF2-40B4-BE49-F238E27FC236}">
                    <a16:creationId xmlns:a16="http://schemas.microsoft.com/office/drawing/2014/main" id="{0628DABB-4098-45CD-913F-3FE8BF25F386}"/>
                  </a:ext>
                </a:extLst>
              </p:cNvPr>
              <p:cNvSpPr/>
              <p:nvPr/>
            </p:nvSpPr>
            <p:spPr>
              <a:xfrm>
                <a:off x="5576510" y="3511043"/>
                <a:ext cx="894407" cy="1053964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33822" y="0"/>
                    </a:moveTo>
                    <a:cubicBezTo>
                      <a:pt x="33822" y="0"/>
                      <a:pt x="31969" y="7500"/>
                      <a:pt x="31505" y="9868"/>
                    </a:cubicBezTo>
                    <a:cubicBezTo>
                      <a:pt x="30579" y="11447"/>
                      <a:pt x="28725" y="16973"/>
                      <a:pt x="28725" y="16973"/>
                    </a:cubicBezTo>
                    <a:cubicBezTo>
                      <a:pt x="27335" y="17763"/>
                      <a:pt x="27335" y="17763"/>
                      <a:pt x="27335" y="17763"/>
                    </a:cubicBezTo>
                    <a:cubicBezTo>
                      <a:pt x="25945" y="16973"/>
                      <a:pt x="25945" y="16973"/>
                      <a:pt x="25945" y="16973"/>
                    </a:cubicBezTo>
                    <a:cubicBezTo>
                      <a:pt x="23629" y="15394"/>
                      <a:pt x="23629" y="15394"/>
                      <a:pt x="23629" y="15394"/>
                    </a:cubicBezTo>
                    <a:cubicBezTo>
                      <a:pt x="21776" y="16184"/>
                      <a:pt x="21776" y="16184"/>
                      <a:pt x="21776" y="16184"/>
                    </a:cubicBezTo>
                    <a:cubicBezTo>
                      <a:pt x="20849" y="14605"/>
                      <a:pt x="20849" y="14605"/>
                      <a:pt x="20849" y="14605"/>
                    </a:cubicBezTo>
                    <a:cubicBezTo>
                      <a:pt x="17606" y="15394"/>
                      <a:pt x="17606" y="15394"/>
                      <a:pt x="17606" y="15394"/>
                    </a:cubicBezTo>
                    <a:cubicBezTo>
                      <a:pt x="16216" y="16578"/>
                      <a:pt x="16216" y="16578"/>
                      <a:pt x="16216" y="16578"/>
                    </a:cubicBezTo>
                    <a:cubicBezTo>
                      <a:pt x="16216" y="20921"/>
                      <a:pt x="16216" y="20921"/>
                      <a:pt x="16216" y="20921"/>
                    </a:cubicBezTo>
                    <a:cubicBezTo>
                      <a:pt x="16216" y="26447"/>
                      <a:pt x="16216" y="26447"/>
                      <a:pt x="16216" y="26447"/>
                    </a:cubicBezTo>
                    <a:cubicBezTo>
                      <a:pt x="16216" y="31578"/>
                      <a:pt x="16216" y="31578"/>
                      <a:pt x="16216" y="31578"/>
                    </a:cubicBezTo>
                    <a:cubicBezTo>
                      <a:pt x="15752" y="33157"/>
                      <a:pt x="15752" y="33157"/>
                      <a:pt x="15752" y="33157"/>
                    </a:cubicBezTo>
                    <a:cubicBezTo>
                      <a:pt x="14362" y="35131"/>
                      <a:pt x="14362" y="35131"/>
                      <a:pt x="14362" y="35131"/>
                    </a:cubicBezTo>
                    <a:cubicBezTo>
                      <a:pt x="13899" y="37105"/>
                      <a:pt x="13899" y="37105"/>
                      <a:pt x="13899" y="37105"/>
                    </a:cubicBezTo>
                    <a:cubicBezTo>
                      <a:pt x="13899" y="39868"/>
                      <a:pt x="13899" y="39868"/>
                      <a:pt x="13899" y="39868"/>
                    </a:cubicBezTo>
                    <a:cubicBezTo>
                      <a:pt x="15752" y="43421"/>
                      <a:pt x="15752" y="43421"/>
                      <a:pt x="15752" y="43421"/>
                    </a:cubicBezTo>
                    <a:cubicBezTo>
                      <a:pt x="16216" y="46973"/>
                      <a:pt x="16216" y="46973"/>
                      <a:pt x="16216" y="46973"/>
                    </a:cubicBezTo>
                    <a:cubicBezTo>
                      <a:pt x="17142" y="48157"/>
                      <a:pt x="17142" y="48157"/>
                      <a:pt x="17142" y="48157"/>
                    </a:cubicBezTo>
                    <a:cubicBezTo>
                      <a:pt x="19459" y="50526"/>
                      <a:pt x="19459" y="50526"/>
                      <a:pt x="19459" y="50526"/>
                    </a:cubicBezTo>
                    <a:cubicBezTo>
                      <a:pt x="18069" y="51315"/>
                      <a:pt x="18069" y="51315"/>
                      <a:pt x="18069" y="51315"/>
                    </a:cubicBezTo>
                    <a:cubicBezTo>
                      <a:pt x="15752" y="52894"/>
                      <a:pt x="15752" y="52894"/>
                      <a:pt x="15752" y="52894"/>
                    </a:cubicBezTo>
                    <a:cubicBezTo>
                      <a:pt x="11119" y="55657"/>
                      <a:pt x="11119" y="55657"/>
                      <a:pt x="11119" y="55657"/>
                    </a:cubicBezTo>
                    <a:cubicBezTo>
                      <a:pt x="9729" y="60789"/>
                      <a:pt x="9729" y="60789"/>
                      <a:pt x="9729" y="60789"/>
                    </a:cubicBezTo>
                    <a:cubicBezTo>
                      <a:pt x="7876" y="63947"/>
                      <a:pt x="7876" y="63947"/>
                      <a:pt x="7876" y="63947"/>
                    </a:cubicBezTo>
                    <a:cubicBezTo>
                      <a:pt x="6023" y="65526"/>
                      <a:pt x="6023" y="65526"/>
                      <a:pt x="6023" y="65526"/>
                    </a:cubicBezTo>
                    <a:cubicBezTo>
                      <a:pt x="5096" y="65921"/>
                      <a:pt x="5096" y="65921"/>
                      <a:pt x="5096" y="65921"/>
                    </a:cubicBezTo>
                    <a:cubicBezTo>
                      <a:pt x="4169" y="67500"/>
                      <a:pt x="4169" y="67500"/>
                      <a:pt x="4169" y="67500"/>
                    </a:cubicBezTo>
                    <a:cubicBezTo>
                      <a:pt x="4633" y="70263"/>
                      <a:pt x="4633" y="70263"/>
                      <a:pt x="4633" y="70263"/>
                    </a:cubicBezTo>
                    <a:cubicBezTo>
                      <a:pt x="4169" y="72236"/>
                      <a:pt x="4169" y="72236"/>
                      <a:pt x="4169" y="72236"/>
                    </a:cubicBezTo>
                    <a:cubicBezTo>
                      <a:pt x="6949" y="74210"/>
                      <a:pt x="6949" y="74210"/>
                      <a:pt x="6949" y="74210"/>
                    </a:cubicBezTo>
                    <a:cubicBezTo>
                      <a:pt x="6023" y="75789"/>
                      <a:pt x="6023" y="75789"/>
                      <a:pt x="6023" y="75789"/>
                    </a:cubicBezTo>
                    <a:cubicBezTo>
                      <a:pt x="2316" y="77368"/>
                      <a:pt x="2316" y="77368"/>
                      <a:pt x="2316" y="77368"/>
                    </a:cubicBezTo>
                    <a:cubicBezTo>
                      <a:pt x="1389" y="78947"/>
                      <a:pt x="1389" y="78947"/>
                      <a:pt x="1389" y="78947"/>
                    </a:cubicBezTo>
                    <a:cubicBezTo>
                      <a:pt x="0" y="81315"/>
                      <a:pt x="0" y="81315"/>
                      <a:pt x="0" y="81315"/>
                    </a:cubicBezTo>
                    <a:cubicBezTo>
                      <a:pt x="64401" y="114868"/>
                      <a:pt x="64401" y="114868"/>
                      <a:pt x="64401" y="114868"/>
                    </a:cubicBezTo>
                    <a:cubicBezTo>
                      <a:pt x="84324" y="118026"/>
                      <a:pt x="84324" y="118026"/>
                      <a:pt x="84324" y="118026"/>
                    </a:cubicBezTo>
                    <a:cubicBezTo>
                      <a:pt x="101003" y="120000"/>
                      <a:pt x="101003" y="120000"/>
                      <a:pt x="101003" y="120000"/>
                    </a:cubicBezTo>
                    <a:cubicBezTo>
                      <a:pt x="101467" y="120000"/>
                      <a:pt x="101467" y="120000"/>
                      <a:pt x="101467" y="120000"/>
                    </a:cubicBezTo>
                    <a:cubicBezTo>
                      <a:pt x="120000" y="13026"/>
                      <a:pt x="120000" y="13026"/>
                      <a:pt x="120000" y="13026"/>
                    </a:cubicBezTo>
                    <a:lnTo>
                      <a:pt x="33822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83" name="Shape 1389">
                <a:extLst>
                  <a:ext uri="{FF2B5EF4-FFF2-40B4-BE49-F238E27FC236}">
                    <a16:creationId xmlns:a16="http://schemas.microsoft.com/office/drawing/2014/main" id="{2140121D-BB8A-4FEA-A071-B7FE4A333D32}"/>
                  </a:ext>
                </a:extLst>
              </p:cNvPr>
              <p:cNvSpPr/>
              <p:nvPr/>
            </p:nvSpPr>
            <p:spPr>
              <a:xfrm>
                <a:off x="4669849" y="2375381"/>
                <a:ext cx="1049603" cy="1817882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08793" y="118921"/>
                    </a:moveTo>
                    <a:lnTo>
                      <a:pt x="109260" y="118112"/>
                    </a:lnTo>
                    <a:lnTo>
                      <a:pt x="106926" y="116764"/>
                    </a:lnTo>
                    <a:lnTo>
                      <a:pt x="107392" y="115685"/>
                    </a:lnTo>
                    <a:lnTo>
                      <a:pt x="106926" y="114067"/>
                    </a:lnTo>
                    <a:lnTo>
                      <a:pt x="107859" y="113258"/>
                    </a:lnTo>
                    <a:lnTo>
                      <a:pt x="108793" y="112988"/>
                    </a:lnTo>
                    <a:lnTo>
                      <a:pt x="110194" y="112179"/>
                    </a:lnTo>
                    <a:lnTo>
                      <a:pt x="111595" y="110292"/>
                    </a:lnTo>
                    <a:lnTo>
                      <a:pt x="112996" y="107325"/>
                    </a:lnTo>
                    <a:lnTo>
                      <a:pt x="116731" y="105707"/>
                    </a:lnTo>
                    <a:lnTo>
                      <a:pt x="119066" y="104629"/>
                    </a:lnTo>
                    <a:lnTo>
                      <a:pt x="120000" y="104359"/>
                    </a:lnTo>
                    <a:lnTo>
                      <a:pt x="118132" y="103011"/>
                    </a:lnTo>
                    <a:lnTo>
                      <a:pt x="117198" y="102202"/>
                    </a:lnTo>
                    <a:lnTo>
                      <a:pt x="116731" y="100314"/>
                    </a:lnTo>
                    <a:lnTo>
                      <a:pt x="115330" y="98157"/>
                    </a:lnTo>
                    <a:lnTo>
                      <a:pt x="115330" y="96539"/>
                    </a:lnTo>
                    <a:lnTo>
                      <a:pt x="115797" y="95460"/>
                    </a:lnTo>
                    <a:lnTo>
                      <a:pt x="115797" y="95191"/>
                    </a:lnTo>
                    <a:lnTo>
                      <a:pt x="55097" y="42606"/>
                    </a:lnTo>
                    <a:lnTo>
                      <a:pt x="53696" y="42067"/>
                    </a:lnTo>
                    <a:lnTo>
                      <a:pt x="53229" y="41797"/>
                    </a:lnTo>
                    <a:lnTo>
                      <a:pt x="52762" y="41258"/>
                    </a:lnTo>
                    <a:lnTo>
                      <a:pt x="52295" y="40449"/>
                    </a:lnTo>
                    <a:lnTo>
                      <a:pt x="52762" y="39640"/>
                    </a:lnTo>
                    <a:lnTo>
                      <a:pt x="54630" y="39370"/>
                    </a:lnTo>
                    <a:lnTo>
                      <a:pt x="55564" y="39101"/>
                    </a:lnTo>
                    <a:lnTo>
                      <a:pt x="69105" y="9438"/>
                    </a:lnTo>
                    <a:lnTo>
                      <a:pt x="12140" y="0"/>
                    </a:lnTo>
                    <a:lnTo>
                      <a:pt x="11673" y="1078"/>
                    </a:lnTo>
                    <a:lnTo>
                      <a:pt x="10739" y="1348"/>
                    </a:lnTo>
                    <a:lnTo>
                      <a:pt x="10739" y="2426"/>
                    </a:lnTo>
                    <a:lnTo>
                      <a:pt x="10739" y="3235"/>
                    </a:lnTo>
                    <a:lnTo>
                      <a:pt x="10739" y="5662"/>
                    </a:lnTo>
                    <a:lnTo>
                      <a:pt x="10272" y="6741"/>
                    </a:lnTo>
                    <a:lnTo>
                      <a:pt x="8871" y="8089"/>
                    </a:lnTo>
                    <a:lnTo>
                      <a:pt x="7937" y="8898"/>
                    </a:lnTo>
                    <a:lnTo>
                      <a:pt x="7937" y="9168"/>
                    </a:lnTo>
                    <a:lnTo>
                      <a:pt x="7937" y="10786"/>
                    </a:lnTo>
                    <a:lnTo>
                      <a:pt x="6070" y="12134"/>
                    </a:lnTo>
                    <a:lnTo>
                      <a:pt x="3268" y="13483"/>
                    </a:lnTo>
                    <a:lnTo>
                      <a:pt x="933" y="14831"/>
                    </a:lnTo>
                    <a:lnTo>
                      <a:pt x="466" y="15370"/>
                    </a:lnTo>
                    <a:lnTo>
                      <a:pt x="0" y="16719"/>
                    </a:lnTo>
                    <a:lnTo>
                      <a:pt x="0" y="17797"/>
                    </a:lnTo>
                    <a:lnTo>
                      <a:pt x="466" y="19146"/>
                    </a:lnTo>
                    <a:lnTo>
                      <a:pt x="1400" y="20224"/>
                    </a:lnTo>
                    <a:lnTo>
                      <a:pt x="3268" y="21842"/>
                    </a:lnTo>
                    <a:lnTo>
                      <a:pt x="3735" y="22921"/>
                    </a:lnTo>
                    <a:lnTo>
                      <a:pt x="4202" y="24269"/>
                    </a:lnTo>
                    <a:lnTo>
                      <a:pt x="4202" y="26426"/>
                    </a:lnTo>
                    <a:lnTo>
                      <a:pt x="2801" y="28044"/>
                    </a:lnTo>
                    <a:lnTo>
                      <a:pt x="2334" y="29662"/>
                    </a:lnTo>
                    <a:lnTo>
                      <a:pt x="2334" y="31550"/>
                    </a:lnTo>
                    <a:lnTo>
                      <a:pt x="1867" y="32359"/>
                    </a:lnTo>
                    <a:lnTo>
                      <a:pt x="933" y="32898"/>
                    </a:lnTo>
                    <a:lnTo>
                      <a:pt x="1400" y="33977"/>
                    </a:lnTo>
                    <a:lnTo>
                      <a:pt x="3268" y="35865"/>
                    </a:lnTo>
                    <a:lnTo>
                      <a:pt x="5136" y="39101"/>
                    </a:lnTo>
                    <a:lnTo>
                      <a:pt x="7003" y="41258"/>
                    </a:lnTo>
                    <a:lnTo>
                      <a:pt x="7937" y="42067"/>
                    </a:lnTo>
                    <a:lnTo>
                      <a:pt x="7937" y="43415"/>
                    </a:lnTo>
                    <a:lnTo>
                      <a:pt x="7470" y="44224"/>
                    </a:lnTo>
                    <a:lnTo>
                      <a:pt x="6536" y="44764"/>
                    </a:lnTo>
                    <a:lnTo>
                      <a:pt x="6536" y="45573"/>
                    </a:lnTo>
                    <a:lnTo>
                      <a:pt x="8404" y="45573"/>
                    </a:lnTo>
                    <a:lnTo>
                      <a:pt x="9338" y="46382"/>
                    </a:lnTo>
                    <a:lnTo>
                      <a:pt x="10739" y="47460"/>
                    </a:lnTo>
                    <a:lnTo>
                      <a:pt x="11206" y="48000"/>
                    </a:lnTo>
                    <a:lnTo>
                      <a:pt x="12607" y="48269"/>
                    </a:lnTo>
                    <a:lnTo>
                      <a:pt x="13540" y="47191"/>
                    </a:lnTo>
                    <a:lnTo>
                      <a:pt x="13540" y="45842"/>
                    </a:lnTo>
                    <a:lnTo>
                      <a:pt x="15875" y="45573"/>
                    </a:lnTo>
                    <a:lnTo>
                      <a:pt x="17276" y="46382"/>
                    </a:lnTo>
                    <a:lnTo>
                      <a:pt x="20544" y="46382"/>
                    </a:lnTo>
                    <a:lnTo>
                      <a:pt x="22412" y="47460"/>
                    </a:lnTo>
                    <a:lnTo>
                      <a:pt x="23813" y="47730"/>
                    </a:lnTo>
                    <a:lnTo>
                      <a:pt x="24747" y="48000"/>
                    </a:lnTo>
                    <a:lnTo>
                      <a:pt x="23813" y="48539"/>
                    </a:lnTo>
                    <a:lnTo>
                      <a:pt x="22879" y="48269"/>
                    </a:lnTo>
                    <a:lnTo>
                      <a:pt x="21011" y="47730"/>
                    </a:lnTo>
                    <a:lnTo>
                      <a:pt x="20544" y="47730"/>
                    </a:lnTo>
                    <a:lnTo>
                      <a:pt x="18677" y="47460"/>
                    </a:lnTo>
                    <a:lnTo>
                      <a:pt x="17743" y="47191"/>
                    </a:lnTo>
                    <a:lnTo>
                      <a:pt x="16342" y="46921"/>
                    </a:lnTo>
                    <a:lnTo>
                      <a:pt x="15408" y="47191"/>
                    </a:lnTo>
                    <a:lnTo>
                      <a:pt x="15408" y="47730"/>
                    </a:lnTo>
                    <a:lnTo>
                      <a:pt x="15408" y="49617"/>
                    </a:lnTo>
                    <a:lnTo>
                      <a:pt x="16342" y="50426"/>
                    </a:lnTo>
                    <a:lnTo>
                      <a:pt x="15875" y="52314"/>
                    </a:lnTo>
                    <a:lnTo>
                      <a:pt x="15408" y="52314"/>
                    </a:lnTo>
                    <a:lnTo>
                      <a:pt x="14007" y="51775"/>
                    </a:lnTo>
                    <a:lnTo>
                      <a:pt x="13540" y="51235"/>
                    </a:lnTo>
                    <a:lnTo>
                      <a:pt x="13540" y="50157"/>
                    </a:lnTo>
                    <a:lnTo>
                      <a:pt x="13540" y="49887"/>
                    </a:lnTo>
                    <a:lnTo>
                      <a:pt x="13073" y="49617"/>
                    </a:lnTo>
                    <a:lnTo>
                      <a:pt x="11673" y="49348"/>
                    </a:lnTo>
                    <a:lnTo>
                      <a:pt x="11206" y="50426"/>
                    </a:lnTo>
                    <a:lnTo>
                      <a:pt x="10739" y="50966"/>
                    </a:lnTo>
                    <a:lnTo>
                      <a:pt x="10739" y="52584"/>
                    </a:lnTo>
                    <a:lnTo>
                      <a:pt x="10739" y="55011"/>
                    </a:lnTo>
                    <a:lnTo>
                      <a:pt x="10739" y="56359"/>
                    </a:lnTo>
                    <a:lnTo>
                      <a:pt x="12140" y="57707"/>
                    </a:lnTo>
                    <a:lnTo>
                      <a:pt x="14007" y="58516"/>
                    </a:lnTo>
                    <a:lnTo>
                      <a:pt x="15875" y="59325"/>
                    </a:lnTo>
                    <a:lnTo>
                      <a:pt x="16342" y="60674"/>
                    </a:lnTo>
                    <a:lnTo>
                      <a:pt x="16342" y="61752"/>
                    </a:lnTo>
                    <a:lnTo>
                      <a:pt x="15875" y="62831"/>
                    </a:lnTo>
                    <a:lnTo>
                      <a:pt x="14474" y="63101"/>
                    </a:lnTo>
                    <a:lnTo>
                      <a:pt x="13073" y="63101"/>
                    </a:lnTo>
                    <a:lnTo>
                      <a:pt x="13073" y="65797"/>
                    </a:lnTo>
                    <a:lnTo>
                      <a:pt x="13540" y="66606"/>
                    </a:lnTo>
                    <a:lnTo>
                      <a:pt x="15875" y="68764"/>
                    </a:lnTo>
                    <a:lnTo>
                      <a:pt x="16342" y="70382"/>
                    </a:lnTo>
                    <a:lnTo>
                      <a:pt x="18677" y="72269"/>
                    </a:lnTo>
                    <a:lnTo>
                      <a:pt x="19610" y="74157"/>
                    </a:lnTo>
                    <a:lnTo>
                      <a:pt x="21011" y="75505"/>
                    </a:lnTo>
                    <a:lnTo>
                      <a:pt x="22412" y="77393"/>
                    </a:lnTo>
                    <a:lnTo>
                      <a:pt x="23346" y="77662"/>
                    </a:lnTo>
                    <a:lnTo>
                      <a:pt x="23346" y="79011"/>
                    </a:lnTo>
                    <a:lnTo>
                      <a:pt x="23346" y="79820"/>
                    </a:lnTo>
                    <a:lnTo>
                      <a:pt x="23346" y="80359"/>
                    </a:lnTo>
                    <a:lnTo>
                      <a:pt x="24280" y="80898"/>
                    </a:lnTo>
                    <a:lnTo>
                      <a:pt x="24747" y="81707"/>
                    </a:lnTo>
                    <a:lnTo>
                      <a:pt x="24747" y="82786"/>
                    </a:lnTo>
                    <a:lnTo>
                      <a:pt x="24280" y="85213"/>
                    </a:lnTo>
                    <a:lnTo>
                      <a:pt x="23813" y="86831"/>
                    </a:lnTo>
                    <a:lnTo>
                      <a:pt x="23346" y="88179"/>
                    </a:lnTo>
                    <a:lnTo>
                      <a:pt x="27548" y="89528"/>
                    </a:lnTo>
                    <a:lnTo>
                      <a:pt x="31284" y="90337"/>
                    </a:lnTo>
                    <a:lnTo>
                      <a:pt x="34085" y="91415"/>
                    </a:lnTo>
                    <a:lnTo>
                      <a:pt x="38287" y="92224"/>
                    </a:lnTo>
                    <a:lnTo>
                      <a:pt x="39688" y="93033"/>
                    </a:lnTo>
                    <a:lnTo>
                      <a:pt x="42490" y="95730"/>
                    </a:lnTo>
                    <a:lnTo>
                      <a:pt x="46225" y="97617"/>
                    </a:lnTo>
                    <a:lnTo>
                      <a:pt x="51828" y="98426"/>
                    </a:lnTo>
                    <a:lnTo>
                      <a:pt x="52295" y="100853"/>
                    </a:lnTo>
                    <a:lnTo>
                      <a:pt x="53229" y="101932"/>
                    </a:lnTo>
                    <a:lnTo>
                      <a:pt x="56498" y="102471"/>
                    </a:lnTo>
                    <a:lnTo>
                      <a:pt x="59766" y="104629"/>
                    </a:lnTo>
                    <a:lnTo>
                      <a:pt x="63501" y="107865"/>
                    </a:lnTo>
                    <a:lnTo>
                      <a:pt x="65369" y="109213"/>
                    </a:lnTo>
                    <a:lnTo>
                      <a:pt x="66770" y="111640"/>
                    </a:lnTo>
                    <a:lnTo>
                      <a:pt x="65369" y="113797"/>
                    </a:lnTo>
                    <a:lnTo>
                      <a:pt x="65369" y="115146"/>
                    </a:lnTo>
                    <a:lnTo>
                      <a:pt x="66770" y="117033"/>
                    </a:lnTo>
                    <a:lnTo>
                      <a:pt x="68638" y="117303"/>
                    </a:lnTo>
                    <a:lnTo>
                      <a:pt x="105058" y="120000"/>
                    </a:lnTo>
                    <a:lnTo>
                      <a:pt x="105525" y="119730"/>
                    </a:lnTo>
                    <a:lnTo>
                      <a:pt x="108793" y="118921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84" name="Shape 1390">
                <a:extLst>
                  <a:ext uri="{FF2B5EF4-FFF2-40B4-BE49-F238E27FC236}">
                    <a16:creationId xmlns:a16="http://schemas.microsoft.com/office/drawing/2014/main" id="{C5738842-7CD8-48EF-B7AF-FC4ECBB28D87}"/>
                  </a:ext>
                </a:extLst>
              </p:cNvPr>
              <p:cNvSpPr/>
              <p:nvPr/>
            </p:nvSpPr>
            <p:spPr>
              <a:xfrm>
                <a:off x="7246898" y="3719390"/>
                <a:ext cx="1147624" cy="616855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0" y="16853"/>
                    </a:moveTo>
                    <a:cubicBezTo>
                      <a:pt x="0" y="18876"/>
                      <a:pt x="0" y="18876"/>
                      <a:pt x="0" y="18876"/>
                    </a:cubicBezTo>
                    <a:cubicBezTo>
                      <a:pt x="0" y="16853"/>
                      <a:pt x="0" y="16853"/>
                      <a:pt x="0" y="16853"/>
                    </a:cubicBezTo>
                    <a:cubicBezTo>
                      <a:pt x="42650" y="21573"/>
                      <a:pt x="42650" y="21573"/>
                      <a:pt x="42650" y="21573"/>
                    </a:cubicBezTo>
                    <a:cubicBezTo>
                      <a:pt x="40843" y="82921"/>
                      <a:pt x="40843" y="82921"/>
                      <a:pt x="40843" y="82921"/>
                    </a:cubicBezTo>
                    <a:cubicBezTo>
                      <a:pt x="43734" y="88314"/>
                      <a:pt x="43734" y="88314"/>
                      <a:pt x="43734" y="88314"/>
                    </a:cubicBezTo>
                    <a:cubicBezTo>
                      <a:pt x="44819" y="90337"/>
                      <a:pt x="44819" y="90337"/>
                      <a:pt x="44819" y="90337"/>
                    </a:cubicBezTo>
                    <a:cubicBezTo>
                      <a:pt x="45903" y="90337"/>
                      <a:pt x="45903" y="90337"/>
                      <a:pt x="45903" y="90337"/>
                    </a:cubicBezTo>
                    <a:cubicBezTo>
                      <a:pt x="47349" y="89662"/>
                      <a:pt x="47349" y="89662"/>
                      <a:pt x="47349" y="89662"/>
                    </a:cubicBezTo>
                    <a:cubicBezTo>
                      <a:pt x="48433" y="90337"/>
                      <a:pt x="48433" y="90337"/>
                      <a:pt x="48433" y="90337"/>
                    </a:cubicBezTo>
                    <a:cubicBezTo>
                      <a:pt x="49518" y="89662"/>
                      <a:pt x="49518" y="89662"/>
                      <a:pt x="49518" y="89662"/>
                    </a:cubicBezTo>
                    <a:cubicBezTo>
                      <a:pt x="50963" y="91011"/>
                      <a:pt x="50963" y="91011"/>
                      <a:pt x="50963" y="91011"/>
                    </a:cubicBezTo>
                    <a:cubicBezTo>
                      <a:pt x="52048" y="97078"/>
                      <a:pt x="52048" y="97078"/>
                      <a:pt x="52048" y="97078"/>
                    </a:cubicBezTo>
                    <a:cubicBezTo>
                      <a:pt x="55301" y="97078"/>
                      <a:pt x="55301" y="97078"/>
                      <a:pt x="55301" y="97078"/>
                    </a:cubicBezTo>
                    <a:cubicBezTo>
                      <a:pt x="57831" y="99775"/>
                      <a:pt x="57831" y="99775"/>
                      <a:pt x="57831" y="99775"/>
                    </a:cubicBezTo>
                    <a:cubicBezTo>
                      <a:pt x="59999" y="99101"/>
                      <a:pt x="59999" y="99101"/>
                      <a:pt x="59999" y="99101"/>
                    </a:cubicBezTo>
                    <a:cubicBezTo>
                      <a:pt x="60361" y="99101"/>
                      <a:pt x="60361" y="99101"/>
                      <a:pt x="60361" y="99101"/>
                    </a:cubicBezTo>
                    <a:cubicBezTo>
                      <a:pt x="61807" y="101797"/>
                      <a:pt x="61807" y="101797"/>
                      <a:pt x="61807" y="101797"/>
                    </a:cubicBezTo>
                    <a:cubicBezTo>
                      <a:pt x="63253" y="99775"/>
                      <a:pt x="63253" y="99775"/>
                      <a:pt x="63253" y="99775"/>
                    </a:cubicBezTo>
                    <a:cubicBezTo>
                      <a:pt x="66506" y="100449"/>
                      <a:pt x="66506" y="100449"/>
                      <a:pt x="66506" y="100449"/>
                    </a:cubicBezTo>
                    <a:cubicBezTo>
                      <a:pt x="67951" y="105168"/>
                      <a:pt x="67951" y="105168"/>
                      <a:pt x="67951" y="105168"/>
                    </a:cubicBezTo>
                    <a:cubicBezTo>
                      <a:pt x="69036" y="105168"/>
                      <a:pt x="69036" y="105168"/>
                      <a:pt x="69036" y="105168"/>
                    </a:cubicBezTo>
                    <a:cubicBezTo>
                      <a:pt x="69397" y="109213"/>
                      <a:pt x="69397" y="109213"/>
                      <a:pt x="69397" y="109213"/>
                    </a:cubicBezTo>
                    <a:cubicBezTo>
                      <a:pt x="70843" y="109887"/>
                      <a:pt x="70843" y="109887"/>
                      <a:pt x="70843" y="109887"/>
                    </a:cubicBezTo>
                    <a:cubicBezTo>
                      <a:pt x="72289" y="107865"/>
                      <a:pt x="72289" y="107865"/>
                      <a:pt x="72289" y="107865"/>
                    </a:cubicBezTo>
                    <a:cubicBezTo>
                      <a:pt x="73012" y="105842"/>
                      <a:pt x="73012" y="105842"/>
                      <a:pt x="73012" y="105842"/>
                    </a:cubicBezTo>
                    <a:cubicBezTo>
                      <a:pt x="73734" y="105842"/>
                      <a:pt x="73734" y="105842"/>
                      <a:pt x="73734" y="105842"/>
                    </a:cubicBezTo>
                    <a:cubicBezTo>
                      <a:pt x="76265" y="109213"/>
                      <a:pt x="76265" y="109213"/>
                      <a:pt x="76265" y="109213"/>
                    </a:cubicBezTo>
                    <a:cubicBezTo>
                      <a:pt x="76987" y="111910"/>
                      <a:pt x="76987" y="111910"/>
                      <a:pt x="76987" y="111910"/>
                    </a:cubicBezTo>
                    <a:cubicBezTo>
                      <a:pt x="79518" y="109213"/>
                      <a:pt x="79518" y="109213"/>
                      <a:pt x="79518" y="109213"/>
                    </a:cubicBezTo>
                    <a:cubicBezTo>
                      <a:pt x="80240" y="110561"/>
                      <a:pt x="80240" y="110561"/>
                      <a:pt x="80240" y="110561"/>
                    </a:cubicBezTo>
                    <a:cubicBezTo>
                      <a:pt x="80602" y="114606"/>
                      <a:pt x="80602" y="114606"/>
                      <a:pt x="80602" y="114606"/>
                    </a:cubicBezTo>
                    <a:cubicBezTo>
                      <a:pt x="81325" y="113932"/>
                      <a:pt x="81325" y="113932"/>
                      <a:pt x="81325" y="113932"/>
                    </a:cubicBezTo>
                    <a:cubicBezTo>
                      <a:pt x="82409" y="110561"/>
                      <a:pt x="82409" y="110561"/>
                      <a:pt x="82409" y="110561"/>
                    </a:cubicBezTo>
                    <a:cubicBezTo>
                      <a:pt x="84216" y="109887"/>
                      <a:pt x="84216" y="109887"/>
                      <a:pt x="84216" y="109887"/>
                    </a:cubicBezTo>
                    <a:cubicBezTo>
                      <a:pt x="86385" y="111910"/>
                      <a:pt x="86385" y="111910"/>
                      <a:pt x="86385" y="111910"/>
                    </a:cubicBezTo>
                    <a:cubicBezTo>
                      <a:pt x="89638" y="111235"/>
                      <a:pt x="89638" y="111235"/>
                      <a:pt x="89638" y="111235"/>
                    </a:cubicBezTo>
                    <a:cubicBezTo>
                      <a:pt x="91084" y="113932"/>
                      <a:pt x="91084" y="113932"/>
                      <a:pt x="91084" y="113932"/>
                    </a:cubicBezTo>
                    <a:cubicBezTo>
                      <a:pt x="91807" y="115955"/>
                      <a:pt x="91807" y="115955"/>
                      <a:pt x="91807" y="115955"/>
                    </a:cubicBezTo>
                    <a:cubicBezTo>
                      <a:pt x="93614" y="115280"/>
                      <a:pt x="93614" y="115280"/>
                      <a:pt x="93614" y="115280"/>
                    </a:cubicBezTo>
                    <a:cubicBezTo>
                      <a:pt x="95421" y="112584"/>
                      <a:pt x="95421" y="112584"/>
                      <a:pt x="95421" y="112584"/>
                    </a:cubicBezTo>
                    <a:cubicBezTo>
                      <a:pt x="96506" y="110561"/>
                      <a:pt x="96506" y="110561"/>
                      <a:pt x="96506" y="110561"/>
                    </a:cubicBezTo>
                    <a:cubicBezTo>
                      <a:pt x="97951" y="110561"/>
                      <a:pt x="97951" y="110561"/>
                      <a:pt x="97951" y="110561"/>
                    </a:cubicBezTo>
                    <a:cubicBezTo>
                      <a:pt x="99397" y="111910"/>
                      <a:pt x="99397" y="111910"/>
                      <a:pt x="99397" y="111910"/>
                    </a:cubicBezTo>
                    <a:cubicBezTo>
                      <a:pt x="100481" y="111235"/>
                      <a:pt x="100481" y="111235"/>
                      <a:pt x="100481" y="111235"/>
                    </a:cubicBezTo>
                    <a:cubicBezTo>
                      <a:pt x="101927" y="109213"/>
                      <a:pt x="101927" y="109213"/>
                      <a:pt x="101927" y="109213"/>
                    </a:cubicBezTo>
                    <a:cubicBezTo>
                      <a:pt x="104096" y="109887"/>
                      <a:pt x="104096" y="109887"/>
                      <a:pt x="104096" y="109887"/>
                    </a:cubicBezTo>
                    <a:cubicBezTo>
                      <a:pt x="105180" y="110561"/>
                      <a:pt x="105180" y="110561"/>
                      <a:pt x="105180" y="110561"/>
                    </a:cubicBezTo>
                    <a:cubicBezTo>
                      <a:pt x="108433" y="108539"/>
                      <a:pt x="108433" y="108539"/>
                      <a:pt x="108433" y="108539"/>
                    </a:cubicBezTo>
                    <a:cubicBezTo>
                      <a:pt x="110602" y="109887"/>
                      <a:pt x="110602" y="109887"/>
                      <a:pt x="110602" y="109887"/>
                    </a:cubicBezTo>
                    <a:cubicBezTo>
                      <a:pt x="112409" y="113258"/>
                      <a:pt x="112409" y="113258"/>
                      <a:pt x="112409" y="113258"/>
                    </a:cubicBezTo>
                    <a:cubicBezTo>
                      <a:pt x="114939" y="116629"/>
                      <a:pt x="114939" y="116629"/>
                      <a:pt x="114939" y="116629"/>
                    </a:cubicBezTo>
                    <a:cubicBezTo>
                      <a:pt x="117108" y="116629"/>
                      <a:pt x="117108" y="116629"/>
                      <a:pt x="117108" y="116629"/>
                    </a:cubicBezTo>
                    <a:cubicBezTo>
                      <a:pt x="118554" y="118651"/>
                      <a:pt x="118554" y="118651"/>
                      <a:pt x="118554" y="118651"/>
                    </a:cubicBezTo>
                    <a:cubicBezTo>
                      <a:pt x="119638" y="120000"/>
                      <a:pt x="119638" y="120000"/>
                      <a:pt x="119638" y="120000"/>
                    </a:cubicBezTo>
                    <a:cubicBezTo>
                      <a:pt x="119999" y="59325"/>
                      <a:pt x="119999" y="59325"/>
                      <a:pt x="119999" y="59325"/>
                    </a:cubicBezTo>
                    <a:cubicBezTo>
                      <a:pt x="117108" y="24943"/>
                      <a:pt x="117108" y="24943"/>
                      <a:pt x="117108" y="24943"/>
                    </a:cubicBezTo>
                    <a:cubicBezTo>
                      <a:pt x="117108" y="8089"/>
                      <a:pt x="117108" y="8089"/>
                      <a:pt x="117108" y="8089"/>
                    </a:cubicBezTo>
                    <a:cubicBezTo>
                      <a:pt x="117108" y="8089"/>
                      <a:pt x="76265" y="6741"/>
                      <a:pt x="63253" y="6067"/>
                    </a:cubicBezTo>
                    <a:cubicBezTo>
                      <a:pt x="47349" y="4719"/>
                      <a:pt x="1445" y="0"/>
                      <a:pt x="1445" y="0"/>
                    </a:cubicBezTo>
                    <a:cubicBezTo>
                      <a:pt x="1084" y="16853"/>
                      <a:pt x="1084" y="16853"/>
                      <a:pt x="1084" y="16853"/>
                    </a:cubicBezTo>
                    <a:lnTo>
                      <a:pt x="0" y="16853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85" name="Shape 1391">
                <a:extLst>
                  <a:ext uri="{FF2B5EF4-FFF2-40B4-BE49-F238E27FC236}">
                    <a16:creationId xmlns:a16="http://schemas.microsoft.com/office/drawing/2014/main" id="{6AD91C3D-E3A3-4A0C-B563-F6B4A5281E3E}"/>
                  </a:ext>
                </a:extLst>
              </p:cNvPr>
              <p:cNvSpPr/>
              <p:nvPr/>
            </p:nvSpPr>
            <p:spPr>
              <a:xfrm>
                <a:off x="7393925" y="3221002"/>
                <a:ext cx="972006" cy="539239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20000" y="120000"/>
                    </a:moveTo>
                    <a:cubicBezTo>
                      <a:pt x="120000" y="40000"/>
                      <a:pt x="120000" y="40000"/>
                      <a:pt x="120000" y="40000"/>
                    </a:cubicBezTo>
                    <a:cubicBezTo>
                      <a:pt x="117446" y="37692"/>
                      <a:pt x="117446" y="37692"/>
                      <a:pt x="117446" y="37692"/>
                    </a:cubicBezTo>
                    <a:cubicBezTo>
                      <a:pt x="116170" y="36153"/>
                      <a:pt x="116170" y="36153"/>
                      <a:pt x="116170" y="36153"/>
                    </a:cubicBezTo>
                    <a:cubicBezTo>
                      <a:pt x="115319" y="31538"/>
                      <a:pt x="115319" y="31538"/>
                      <a:pt x="115319" y="31538"/>
                    </a:cubicBezTo>
                    <a:cubicBezTo>
                      <a:pt x="112765" y="26923"/>
                      <a:pt x="112765" y="26923"/>
                      <a:pt x="112765" y="26923"/>
                    </a:cubicBezTo>
                    <a:cubicBezTo>
                      <a:pt x="114042" y="23076"/>
                      <a:pt x="114042" y="23076"/>
                      <a:pt x="114042" y="23076"/>
                    </a:cubicBezTo>
                    <a:cubicBezTo>
                      <a:pt x="115319" y="18461"/>
                      <a:pt x="115319" y="18461"/>
                      <a:pt x="115319" y="18461"/>
                    </a:cubicBezTo>
                    <a:cubicBezTo>
                      <a:pt x="115319" y="14615"/>
                      <a:pt x="115319" y="14615"/>
                      <a:pt x="115319" y="14615"/>
                    </a:cubicBezTo>
                    <a:cubicBezTo>
                      <a:pt x="114468" y="14615"/>
                      <a:pt x="114468" y="14615"/>
                      <a:pt x="114468" y="14615"/>
                    </a:cubicBezTo>
                    <a:cubicBezTo>
                      <a:pt x="110638" y="14615"/>
                      <a:pt x="110638" y="14615"/>
                      <a:pt x="110638" y="14615"/>
                    </a:cubicBezTo>
                    <a:cubicBezTo>
                      <a:pt x="109787" y="11538"/>
                      <a:pt x="109787" y="11538"/>
                      <a:pt x="109787" y="11538"/>
                    </a:cubicBezTo>
                    <a:cubicBezTo>
                      <a:pt x="108085" y="6923"/>
                      <a:pt x="108085" y="6923"/>
                      <a:pt x="108085" y="6923"/>
                    </a:cubicBezTo>
                    <a:cubicBezTo>
                      <a:pt x="108085" y="6923"/>
                      <a:pt x="79574" y="5384"/>
                      <a:pt x="70212" y="4615"/>
                    </a:cubicBezTo>
                    <a:cubicBezTo>
                      <a:pt x="53617" y="3846"/>
                      <a:pt x="4255" y="0"/>
                      <a:pt x="4255" y="0"/>
                    </a:cubicBezTo>
                    <a:cubicBezTo>
                      <a:pt x="0" y="112307"/>
                      <a:pt x="0" y="112307"/>
                      <a:pt x="0" y="112307"/>
                    </a:cubicBezTo>
                    <a:cubicBezTo>
                      <a:pt x="17446" y="113846"/>
                      <a:pt x="44255" y="116153"/>
                      <a:pt x="56595" y="117692"/>
                    </a:cubicBezTo>
                    <a:cubicBezTo>
                      <a:pt x="71914" y="118461"/>
                      <a:pt x="120000" y="120000"/>
                      <a:pt x="120000" y="120000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86" name="Shape 1392">
                <a:extLst>
                  <a:ext uri="{FF2B5EF4-FFF2-40B4-BE49-F238E27FC236}">
                    <a16:creationId xmlns:a16="http://schemas.microsoft.com/office/drawing/2014/main" id="{0C1A2E8B-89AD-43A6-97BB-2C0FDF8523D4}"/>
                  </a:ext>
                </a:extLst>
              </p:cNvPr>
              <p:cNvSpPr/>
              <p:nvPr/>
            </p:nvSpPr>
            <p:spPr>
              <a:xfrm>
                <a:off x="7189724" y="2706274"/>
                <a:ext cx="1082276" cy="547407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20000" y="120000"/>
                    </a:moveTo>
                    <a:cubicBezTo>
                      <a:pt x="120000" y="120000"/>
                      <a:pt x="120000" y="120000"/>
                      <a:pt x="120000" y="120000"/>
                    </a:cubicBezTo>
                    <a:cubicBezTo>
                      <a:pt x="120000" y="120000"/>
                      <a:pt x="120000" y="120000"/>
                      <a:pt x="120000" y="120000"/>
                    </a:cubicBezTo>
                    <a:cubicBezTo>
                      <a:pt x="119233" y="116962"/>
                      <a:pt x="119233" y="116962"/>
                      <a:pt x="119233" y="116962"/>
                    </a:cubicBezTo>
                    <a:cubicBezTo>
                      <a:pt x="118849" y="112405"/>
                      <a:pt x="118849" y="112405"/>
                      <a:pt x="118849" y="112405"/>
                    </a:cubicBezTo>
                    <a:cubicBezTo>
                      <a:pt x="118849" y="112405"/>
                      <a:pt x="116932" y="111645"/>
                      <a:pt x="116549" y="110886"/>
                    </a:cubicBezTo>
                    <a:cubicBezTo>
                      <a:pt x="116166" y="110126"/>
                      <a:pt x="116549" y="110126"/>
                      <a:pt x="116549" y="110126"/>
                    </a:cubicBezTo>
                    <a:cubicBezTo>
                      <a:pt x="115782" y="107848"/>
                      <a:pt x="115782" y="107848"/>
                      <a:pt x="115782" y="107848"/>
                    </a:cubicBezTo>
                    <a:cubicBezTo>
                      <a:pt x="116549" y="106329"/>
                      <a:pt x="116549" y="106329"/>
                      <a:pt x="116549" y="106329"/>
                    </a:cubicBezTo>
                    <a:cubicBezTo>
                      <a:pt x="116166" y="102531"/>
                      <a:pt x="116166" y="102531"/>
                      <a:pt x="116166" y="102531"/>
                    </a:cubicBezTo>
                    <a:cubicBezTo>
                      <a:pt x="115015" y="101012"/>
                      <a:pt x="115015" y="101012"/>
                      <a:pt x="115015" y="101012"/>
                    </a:cubicBezTo>
                    <a:cubicBezTo>
                      <a:pt x="114632" y="98734"/>
                      <a:pt x="114632" y="98734"/>
                      <a:pt x="114632" y="98734"/>
                    </a:cubicBezTo>
                    <a:cubicBezTo>
                      <a:pt x="113865" y="93417"/>
                      <a:pt x="113865" y="93417"/>
                      <a:pt x="113865" y="93417"/>
                    </a:cubicBezTo>
                    <a:cubicBezTo>
                      <a:pt x="113865" y="85822"/>
                      <a:pt x="113865" y="85822"/>
                      <a:pt x="113865" y="85822"/>
                    </a:cubicBezTo>
                    <a:cubicBezTo>
                      <a:pt x="113482" y="84303"/>
                      <a:pt x="113482" y="84303"/>
                      <a:pt x="113482" y="84303"/>
                    </a:cubicBezTo>
                    <a:cubicBezTo>
                      <a:pt x="112715" y="82025"/>
                      <a:pt x="112715" y="82025"/>
                      <a:pt x="112715" y="82025"/>
                    </a:cubicBezTo>
                    <a:cubicBezTo>
                      <a:pt x="113099" y="78987"/>
                      <a:pt x="113099" y="78987"/>
                      <a:pt x="113099" y="78987"/>
                    </a:cubicBezTo>
                    <a:cubicBezTo>
                      <a:pt x="113099" y="71392"/>
                      <a:pt x="113099" y="71392"/>
                      <a:pt x="113099" y="71392"/>
                    </a:cubicBezTo>
                    <a:cubicBezTo>
                      <a:pt x="112332" y="66075"/>
                      <a:pt x="112332" y="66075"/>
                      <a:pt x="112332" y="66075"/>
                    </a:cubicBezTo>
                    <a:cubicBezTo>
                      <a:pt x="111565" y="64556"/>
                      <a:pt x="111565" y="64556"/>
                      <a:pt x="111565" y="64556"/>
                    </a:cubicBezTo>
                    <a:cubicBezTo>
                      <a:pt x="110798" y="64556"/>
                      <a:pt x="110798" y="64556"/>
                      <a:pt x="110798" y="64556"/>
                    </a:cubicBezTo>
                    <a:cubicBezTo>
                      <a:pt x="110415" y="63037"/>
                      <a:pt x="110415" y="63037"/>
                      <a:pt x="110415" y="63037"/>
                    </a:cubicBezTo>
                    <a:cubicBezTo>
                      <a:pt x="110031" y="59240"/>
                      <a:pt x="110031" y="59240"/>
                      <a:pt x="110031" y="59240"/>
                    </a:cubicBezTo>
                    <a:cubicBezTo>
                      <a:pt x="109648" y="56202"/>
                      <a:pt x="109648" y="56202"/>
                      <a:pt x="109648" y="56202"/>
                    </a:cubicBezTo>
                    <a:cubicBezTo>
                      <a:pt x="110798" y="55443"/>
                      <a:pt x="110798" y="55443"/>
                      <a:pt x="110798" y="55443"/>
                    </a:cubicBezTo>
                    <a:cubicBezTo>
                      <a:pt x="110798" y="54683"/>
                      <a:pt x="110798" y="54683"/>
                      <a:pt x="110798" y="54683"/>
                    </a:cubicBezTo>
                    <a:cubicBezTo>
                      <a:pt x="110415" y="53924"/>
                      <a:pt x="110415" y="53924"/>
                      <a:pt x="110415" y="53924"/>
                    </a:cubicBezTo>
                    <a:cubicBezTo>
                      <a:pt x="110031" y="51645"/>
                      <a:pt x="110031" y="51645"/>
                      <a:pt x="110031" y="51645"/>
                    </a:cubicBezTo>
                    <a:cubicBezTo>
                      <a:pt x="109265" y="49367"/>
                      <a:pt x="109265" y="49367"/>
                      <a:pt x="109265" y="49367"/>
                    </a:cubicBezTo>
                    <a:cubicBezTo>
                      <a:pt x="108498" y="45569"/>
                      <a:pt x="108498" y="45569"/>
                      <a:pt x="108498" y="45569"/>
                    </a:cubicBezTo>
                    <a:cubicBezTo>
                      <a:pt x="107731" y="41012"/>
                      <a:pt x="107731" y="41012"/>
                      <a:pt x="107731" y="41012"/>
                    </a:cubicBezTo>
                    <a:cubicBezTo>
                      <a:pt x="106581" y="37215"/>
                      <a:pt x="106581" y="37215"/>
                      <a:pt x="106581" y="37215"/>
                    </a:cubicBezTo>
                    <a:cubicBezTo>
                      <a:pt x="105431" y="30379"/>
                      <a:pt x="105431" y="30379"/>
                      <a:pt x="105431" y="30379"/>
                    </a:cubicBezTo>
                    <a:cubicBezTo>
                      <a:pt x="104281" y="27341"/>
                      <a:pt x="104281" y="27341"/>
                      <a:pt x="104281" y="27341"/>
                    </a:cubicBezTo>
                    <a:cubicBezTo>
                      <a:pt x="103897" y="26582"/>
                      <a:pt x="103897" y="26582"/>
                      <a:pt x="103897" y="26582"/>
                    </a:cubicBezTo>
                    <a:cubicBezTo>
                      <a:pt x="102364" y="24303"/>
                      <a:pt x="102364" y="24303"/>
                      <a:pt x="102364" y="24303"/>
                    </a:cubicBezTo>
                    <a:cubicBezTo>
                      <a:pt x="99680" y="20506"/>
                      <a:pt x="99680" y="20506"/>
                      <a:pt x="99680" y="20506"/>
                    </a:cubicBezTo>
                    <a:cubicBezTo>
                      <a:pt x="97763" y="18987"/>
                      <a:pt x="97763" y="18987"/>
                      <a:pt x="97763" y="18987"/>
                    </a:cubicBezTo>
                    <a:cubicBezTo>
                      <a:pt x="95846" y="17468"/>
                      <a:pt x="95846" y="17468"/>
                      <a:pt x="95846" y="17468"/>
                    </a:cubicBezTo>
                    <a:cubicBezTo>
                      <a:pt x="94313" y="14430"/>
                      <a:pt x="94313" y="14430"/>
                      <a:pt x="94313" y="14430"/>
                    </a:cubicBezTo>
                    <a:cubicBezTo>
                      <a:pt x="91629" y="13670"/>
                      <a:pt x="91629" y="13670"/>
                      <a:pt x="91629" y="13670"/>
                    </a:cubicBezTo>
                    <a:cubicBezTo>
                      <a:pt x="88178" y="14430"/>
                      <a:pt x="88178" y="14430"/>
                      <a:pt x="88178" y="14430"/>
                    </a:cubicBezTo>
                    <a:cubicBezTo>
                      <a:pt x="87028" y="14430"/>
                      <a:pt x="87028" y="14430"/>
                      <a:pt x="87028" y="14430"/>
                    </a:cubicBezTo>
                    <a:cubicBezTo>
                      <a:pt x="85878" y="15189"/>
                      <a:pt x="85878" y="15189"/>
                      <a:pt x="85878" y="15189"/>
                    </a:cubicBezTo>
                    <a:cubicBezTo>
                      <a:pt x="85111" y="16708"/>
                      <a:pt x="85111" y="16708"/>
                      <a:pt x="85111" y="16708"/>
                    </a:cubicBezTo>
                    <a:cubicBezTo>
                      <a:pt x="83961" y="15949"/>
                      <a:pt x="83961" y="15949"/>
                      <a:pt x="83961" y="15949"/>
                    </a:cubicBezTo>
                    <a:cubicBezTo>
                      <a:pt x="82811" y="14430"/>
                      <a:pt x="82811" y="14430"/>
                      <a:pt x="82811" y="14430"/>
                    </a:cubicBezTo>
                    <a:cubicBezTo>
                      <a:pt x="80511" y="12151"/>
                      <a:pt x="80511" y="12151"/>
                      <a:pt x="80511" y="12151"/>
                    </a:cubicBezTo>
                    <a:cubicBezTo>
                      <a:pt x="77444" y="9113"/>
                      <a:pt x="77444" y="9113"/>
                      <a:pt x="77444" y="9113"/>
                    </a:cubicBezTo>
                    <a:cubicBezTo>
                      <a:pt x="3833" y="0"/>
                      <a:pt x="3833" y="0"/>
                      <a:pt x="3833" y="0"/>
                    </a:cubicBezTo>
                    <a:cubicBezTo>
                      <a:pt x="0" y="72151"/>
                      <a:pt x="0" y="72151"/>
                      <a:pt x="0" y="72151"/>
                    </a:cubicBezTo>
                    <a:cubicBezTo>
                      <a:pt x="27987" y="77468"/>
                      <a:pt x="27987" y="77468"/>
                      <a:pt x="27987" y="77468"/>
                    </a:cubicBezTo>
                    <a:cubicBezTo>
                      <a:pt x="26453" y="113164"/>
                      <a:pt x="26453" y="113164"/>
                      <a:pt x="26453" y="113164"/>
                    </a:cubicBezTo>
                    <a:cubicBezTo>
                      <a:pt x="26453" y="113164"/>
                      <a:pt x="26453" y="113164"/>
                      <a:pt x="26453" y="113164"/>
                    </a:cubicBezTo>
                    <a:cubicBezTo>
                      <a:pt x="28753" y="113164"/>
                      <a:pt x="71309" y="116962"/>
                      <a:pt x="85878" y="117721"/>
                    </a:cubicBezTo>
                    <a:cubicBezTo>
                      <a:pt x="94313" y="118481"/>
                      <a:pt x="120000" y="120000"/>
                      <a:pt x="120000" y="120000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87" name="Shape 1393">
                <a:extLst>
                  <a:ext uri="{FF2B5EF4-FFF2-40B4-BE49-F238E27FC236}">
                    <a16:creationId xmlns:a16="http://schemas.microsoft.com/office/drawing/2014/main" id="{A8711272-2FC6-4A56-BE06-B2F623D9CDAA}"/>
                  </a:ext>
                </a:extLst>
              </p:cNvPr>
              <p:cNvSpPr/>
              <p:nvPr/>
            </p:nvSpPr>
            <p:spPr>
              <a:xfrm>
                <a:off x="7222396" y="2216059"/>
                <a:ext cx="931169" cy="620939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89219" y="105333"/>
                    </a:moveTo>
                    <a:cubicBezTo>
                      <a:pt x="91895" y="107333"/>
                      <a:pt x="91895" y="107333"/>
                      <a:pt x="91895" y="107333"/>
                    </a:cubicBezTo>
                    <a:cubicBezTo>
                      <a:pt x="93234" y="108666"/>
                      <a:pt x="93234" y="108666"/>
                      <a:pt x="93234" y="108666"/>
                    </a:cubicBezTo>
                    <a:cubicBezTo>
                      <a:pt x="94572" y="109333"/>
                      <a:pt x="94572" y="109333"/>
                      <a:pt x="94572" y="109333"/>
                    </a:cubicBezTo>
                    <a:cubicBezTo>
                      <a:pt x="95464" y="108000"/>
                      <a:pt x="95464" y="108000"/>
                      <a:pt x="95464" y="108000"/>
                    </a:cubicBezTo>
                    <a:cubicBezTo>
                      <a:pt x="96802" y="107333"/>
                      <a:pt x="96802" y="107333"/>
                      <a:pt x="96802" y="107333"/>
                    </a:cubicBezTo>
                    <a:cubicBezTo>
                      <a:pt x="98141" y="107333"/>
                      <a:pt x="98141" y="107333"/>
                      <a:pt x="98141" y="107333"/>
                    </a:cubicBezTo>
                    <a:cubicBezTo>
                      <a:pt x="102156" y="106666"/>
                      <a:pt x="102156" y="106666"/>
                      <a:pt x="102156" y="106666"/>
                    </a:cubicBezTo>
                    <a:cubicBezTo>
                      <a:pt x="105278" y="107333"/>
                      <a:pt x="105278" y="107333"/>
                      <a:pt x="105278" y="107333"/>
                    </a:cubicBezTo>
                    <a:cubicBezTo>
                      <a:pt x="107063" y="110000"/>
                      <a:pt x="107063" y="110000"/>
                      <a:pt x="107063" y="110000"/>
                    </a:cubicBezTo>
                    <a:cubicBezTo>
                      <a:pt x="109293" y="111333"/>
                      <a:pt x="109293" y="111333"/>
                      <a:pt x="109293" y="111333"/>
                    </a:cubicBezTo>
                    <a:cubicBezTo>
                      <a:pt x="111524" y="112666"/>
                      <a:pt x="111524" y="112666"/>
                      <a:pt x="111524" y="112666"/>
                    </a:cubicBezTo>
                    <a:cubicBezTo>
                      <a:pt x="114646" y="116000"/>
                      <a:pt x="114646" y="116000"/>
                      <a:pt x="114646" y="116000"/>
                    </a:cubicBezTo>
                    <a:cubicBezTo>
                      <a:pt x="116431" y="118000"/>
                      <a:pt x="116431" y="118000"/>
                      <a:pt x="116431" y="118000"/>
                    </a:cubicBezTo>
                    <a:cubicBezTo>
                      <a:pt x="116877" y="118666"/>
                      <a:pt x="116877" y="118666"/>
                      <a:pt x="116877" y="118666"/>
                    </a:cubicBezTo>
                    <a:cubicBezTo>
                      <a:pt x="117323" y="120000"/>
                      <a:pt x="117323" y="120000"/>
                      <a:pt x="117323" y="120000"/>
                    </a:cubicBezTo>
                    <a:cubicBezTo>
                      <a:pt x="117323" y="120000"/>
                      <a:pt x="117323" y="120000"/>
                      <a:pt x="117323" y="120000"/>
                    </a:cubicBezTo>
                    <a:cubicBezTo>
                      <a:pt x="117323" y="118000"/>
                      <a:pt x="117323" y="118000"/>
                      <a:pt x="117323" y="118000"/>
                    </a:cubicBezTo>
                    <a:cubicBezTo>
                      <a:pt x="117323" y="115333"/>
                      <a:pt x="117323" y="115333"/>
                      <a:pt x="117323" y="115333"/>
                    </a:cubicBezTo>
                    <a:cubicBezTo>
                      <a:pt x="115539" y="113333"/>
                      <a:pt x="115539" y="113333"/>
                      <a:pt x="115539" y="113333"/>
                    </a:cubicBezTo>
                    <a:cubicBezTo>
                      <a:pt x="115539" y="111333"/>
                      <a:pt x="115539" y="111333"/>
                      <a:pt x="115539" y="111333"/>
                    </a:cubicBezTo>
                    <a:cubicBezTo>
                      <a:pt x="115985" y="109333"/>
                      <a:pt x="115985" y="109333"/>
                      <a:pt x="115985" y="109333"/>
                    </a:cubicBezTo>
                    <a:cubicBezTo>
                      <a:pt x="117323" y="108666"/>
                      <a:pt x="117323" y="108666"/>
                      <a:pt x="117323" y="108666"/>
                    </a:cubicBezTo>
                    <a:cubicBezTo>
                      <a:pt x="117323" y="104000"/>
                      <a:pt x="117323" y="104000"/>
                      <a:pt x="117323" y="104000"/>
                    </a:cubicBezTo>
                    <a:cubicBezTo>
                      <a:pt x="117769" y="102000"/>
                      <a:pt x="117769" y="102000"/>
                      <a:pt x="117769" y="102000"/>
                    </a:cubicBezTo>
                    <a:cubicBezTo>
                      <a:pt x="118661" y="101333"/>
                      <a:pt x="118661" y="101333"/>
                      <a:pt x="118661" y="101333"/>
                    </a:cubicBezTo>
                    <a:cubicBezTo>
                      <a:pt x="118661" y="98666"/>
                      <a:pt x="118661" y="98666"/>
                      <a:pt x="118661" y="98666"/>
                    </a:cubicBezTo>
                    <a:cubicBezTo>
                      <a:pt x="117769" y="95333"/>
                      <a:pt x="117769" y="95333"/>
                      <a:pt x="117769" y="95333"/>
                    </a:cubicBezTo>
                    <a:cubicBezTo>
                      <a:pt x="116877" y="94666"/>
                      <a:pt x="116877" y="94666"/>
                      <a:pt x="116877" y="94666"/>
                    </a:cubicBezTo>
                    <a:cubicBezTo>
                      <a:pt x="117323" y="91333"/>
                      <a:pt x="117323" y="91333"/>
                      <a:pt x="117323" y="91333"/>
                    </a:cubicBezTo>
                    <a:cubicBezTo>
                      <a:pt x="117323" y="89333"/>
                      <a:pt x="117323" y="89333"/>
                      <a:pt x="117323" y="89333"/>
                    </a:cubicBezTo>
                    <a:cubicBezTo>
                      <a:pt x="118661" y="89333"/>
                      <a:pt x="118661" y="89333"/>
                      <a:pt x="118661" y="89333"/>
                    </a:cubicBezTo>
                    <a:cubicBezTo>
                      <a:pt x="120000" y="31333"/>
                      <a:pt x="120000" y="31333"/>
                      <a:pt x="120000" y="31333"/>
                    </a:cubicBezTo>
                    <a:cubicBezTo>
                      <a:pt x="118661" y="29333"/>
                      <a:pt x="118661" y="29333"/>
                      <a:pt x="118661" y="29333"/>
                    </a:cubicBezTo>
                    <a:cubicBezTo>
                      <a:pt x="117769" y="27333"/>
                      <a:pt x="117769" y="27333"/>
                      <a:pt x="117769" y="27333"/>
                    </a:cubicBezTo>
                    <a:cubicBezTo>
                      <a:pt x="115539" y="26000"/>
                      <a:pt x="115539" y="26000"/>
                      <a:pt x="115539" y="26000"/>
                    </a:cubicBezTo>
                    <a:cubicBezTo>
                      <a:pt x="115092" y="24000"/>
                      <a:pt x="115092" y="24000"/>
                      <a:pt x="115092" y="24000"/>
                    </a:cubicBezTo>
                    <a:cubicBezTo>
                      <a:pt x="113754" y="22000"/>
                      <a:pt x="113754" y="22000"/>
                      <a:pt x="113754" y="22000"/>
                    </a:cubicBezTo>
                    <a:cubicBezTo>
                      <a:pt x="113308" y="20666"/>
                      <a:pt x="113308" y="20666"/>
                      <a:pt x="113308" y="20666"/>
                    </a:cubicBezTo>
                    <a:cubicBezTo>
                      <a:pt x="113308" y="19333"/>
                      <a:pt x="113308" y="19333"/>
                      <a:pt x="113308" y="19333"/>
                    </a:cubicBezTo>
                    <a:cubicBezTo>
                      <a:pt x="113308" y="18000"/>
                      <a:pt x="113308" y="18000"/>
                      <a:pt x="113308" y="18000"/>
                    </a:cubicBezTo>
                    <a:cubicBezTo>
                      <a:pt x="114646" y="16000"/>
                      <a:pt x="114646" y="16000"/>
                      <a:pt x="114646" y="16000"/>
                    </a:cubicBezTo>
                    <a:cubicBezTo>
                      <a:pt x="115985" y="14000"/>
                      <a:pt x="115985" y="14000"/>
                      <a:pt x="115985" y="14000"/>
                    </a:cubicBezTo>
                    <a:cubicBezTo>
                      <a:pt x="117769" y="11333"/>
                      <a:pt x="117769" y="11333"/>
                      <a:pt x="117769" y="11333"/>
                    </a:cubicBezTo>
                    <a:cubicBezTo>
                      <a:pt x="117323" y="10000"/>
                      <a:pt x="117323" y="10000"/>
                      <a:pt x="117323" y="10000"/>
                    </a:cubicBezTo>
                    <a:cubicBezTo>
                      <a:pt x="117323" y="9333"/>
                      <a:pt x="117323" y="9333"/>
                      <a:pt x="117323" y="9333"/>
                    </a:cubicBezTo>
                    <a:cubicBezTo>
                      <a:pt x="117323" y="9333"/>
                      <a:pt x="74498" y="6666"/>
                      <a:pt x="60669" y="5333"/>
                    </a:cubicBezTo>
                    <a:cubicBezTo>
                      <a:pt x="46840" y="4000"/>
                      <a:pt x="6245" y="0"/>
                      <a:pt x="6245" y="0"/>
                    </a:cubicBezTo>
                    <a:cubicBezTo>
                      <a:pt x="0" y="94666"/>
                      <a:pt x="0" y="94666"/>
                      <a:pt x="0" y="94666"/>
                    </a:cubicBezTo>
                    <a:cubicBezTo>
                      <a:pt x="85650" y="102666"/>
                      <a:pt x="85650" y="102666"/>
                      <a:pt x="85650" y="102666"/>
                    </a:cubicBezTo>
                    <a:lnTo>
                      <a:pt x="89219" y="105333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88" name="Shape 1394">
                <a:extLst>
                  <a:ext uri="{FF2B5EF4-FFF2-40B4-BE49-F238E27FC236}">
                    <a16:creationId xmlns:a16="http://schemas.microsoft.com/office/drawing/2014/main" id="{CBC00B62-F013-4FB4-9BD4-2023CE04E1A3}"/>
                  </a:ext>
                </a:extLst>
              </p:cNvPr>
              <p:cNvSpPr/>
              <p:nvPr/>
            </p:nvSpPr>
            <p:spPr>
              <a:xfrm>
                <a:off x="6323898" y="2260993"/>
                <a:ext cx="935252" cy="772091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19999" y="17142"/>
                    </a:moveTo>
                    <a:lnTo>
                      <a:pt x="119475" y="17142"/>
                    </a:lnTo>
                    <a:lnTo>
                      <a:pt x="14672" y="0"/>
                    </a:lnTo>
                    <a:lnTo>
                      <a:pt x="12576" y="14603"/>
                    </a:lnTo>
                    <a:lnTo>
                      <a:pt x="3668" y="77460"/>
                    </a:lnTo>
                    <a:lnTo>
                      <a:pt x="0" y="102857"/>
                    </a:lnTo>
                    <a:lnTo>
                      <a:pt x="31965" y="109206"/>
                    </a:lnTo>
                    <a:lnTo>
                      <a:pt x="111091" y="120000"/>
                    </a:lnTo>
                    <a:lnTo>
                      <a:pt x="115283" y="69206"/>
                    </a:lnTo>
                    <a:lnTo>
                      <a:pt x="119999" y="17142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89" name="Shape 1395">
                <a:extLst>
                  <a:ext uri="{FF2B5EF4-FFF2-40B4-BE49-F238E27FC236}">
                    <a16:creationId xmlns:a16="http://schemas.microsoft.com/office/drawing/2014/main" id="{53825885-74FF-41C3-9054-434B253038F5}"/>
                  </a:ext>
                </a:extLst>
              </p:cNvPr>
              <p:cNvSpPr/>
              <p:nvPr/>
            </p:nvSpPr>
            <p:spPr>
              <a:xfrm>
                <a:off x="7271404" y="1705418"/>
                <a:ext cx="869907" cy="559666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19043" y="119259"/>
                    </a:moveTo>
                    <a:cubicBezTo>
                      <a:pt x="119043" y="120000"/>
                      <a:pt x="119043" y="120000"/>
                      <a:pt x="119043" y="120000"/>
                    </a:cubicBezTo>
                    <a:cubicBezTo>
                      <a:pt x="119043" y="120000"/>
                      <a:pt x="119043" y="120000"/>
                      <a:pt x="119043" y="120000"/>
                    </a:cubicBezTo>
                    <a:cubicBezTo>
                      <a:pt x="120000" y="118518"/>
                      <a:pt x="120000" y="118518"/>
                      <a:pt x="120000" y="118518"/>
                    </a:cubicBezTo>
                    <a:cubicBezTo>
                      <a:pt x="120000" y="114814"/>
                      <a:pt x="120000" y="114814"/>
                      <a:pt x="120000" y="114814"/>
                    </a:cubicBezTo>
                    <a:cubicBezTo>
                      <a:pt x="120000" y="111111"/>
                      <a:pt x="120000" y="111111"/>
                      <a:pt x="120000" y="111111"/>
                    </a:cubicBezTo>
                    <a:cubicBezTo>
                      <a:pt x="119521" y="106666"/>
                      <a:pt x="119521" y="106666"/>
                      <a:pt x="119521" y="106666"/>
                    </a:cubicBezTo>
                    <a:cubicBezTo>
                      <a:pt x="118565" y="104444"/>
                      <a:pt x="118565" y="104444"/>
                      <a:pt x="118565" y="104444"/>
                    </a:cubicBezTo>
                    <a:cubicBezTo>
                      <a:pt x="117131" y="102222"/>
                      <a:pt x="117131" y="102222"/>
                      <a:pt x="117131" y="102222"/>
                    </a:cubicBezTo>
                    <a:cubicBezTo>
                      <a:pt x="117131" y="97037"/>
                      <a:pt x="117131" y="97037"/>
                      <a:pt x="117131" y="97037"/>
                    </a:cubicBezTo>
                    <a:cubicBezTo>
                      <a:pt x="116653" y="95555"/>
                      <a:pt x="116653" y="95555"/>
                      <a:pt x="116653" y="95555"/>
                    </a:cubicBezTo>
                    <a:cubicBezTo>
                      <a:pt x="115697" y="93333"/>
                      <a:pt x="115697" y="93333"/>
                      <a:pt x="115697" y="93333"/>
                    </a:cubicBezTo>
                    <a:cubicBezTo>
                      <a:pt x="115697" y="86666"/>
                      <a:pt x="115697" y="86666"/>
                      <a:pt x="115697" y="86666"/>
                    </a:cubicBezTo>
                    <a:cubicBezTo>
                      <a:pt x="115697" y="76296"/>
                      <a:pt x="115697" y="76296"/>
                      <a:pt x="115697" y="76296"/>
                    </a:cubicBezTo>
                    <a:cubicBezTo>
                      <a:pt x="115219" y="63703"/>
                      <a:pt x="115219" y="63703"/>
                      <a:pt x="115219" y="63703"/>
                    </a:cubicBezTo>
                    <a:cubicBezTo>
                      <a:pt x="115219" y="57037"/>
                      <a:pt x="115219" y="57037"/>
                      <a:pt x="115219" y="57037"/>
                    </a:cubicBezTo>
                    <a:cubicBezTo>
                      <a:pt x="113306" y="51851"/>
                      <a:pt x="113306" y="51851"/>
                      <a:pt x="113306" y="51851"/>
                    </a:cubicBezTo>
                    <a:cubicBezTo>
                      <a:pt x="111872" y="44444"/>
                      <a:pt x="111872" y="44444"/>
                      <a:pt x="111872" y="44444"/>
                    </a:cubicBezTo>
                    <a:cubicBezTo>
                      <a:pt x="110916" y="40000"/>
                      <a:pt x="110916" y="40000"/>
                      <a:pt x="110916" y="40000"/>
                    </a:cubicBezTo>
                    <a:cubicBezTo>
                      <a:pt x="111872" y="34814"/>
                      <a:pt x="111872" y="34814"/>
                      <a:pt x="111872" y="34814"/>
                    </a:cubicBezTo>
                    <a:cubicBezTo>
                      <a:pt x="111394" y="30370"/>
                      <a:pt x="111394" y="30370"/>
                      <a:pt x="111394" y="30370"/>
                    </a:cubicBezTo>
                    <a:cubicBezTo>
                      <a:pt x="110916" y="28888"/>
                      <a:pt x="110916" y="28888"/>
                      <a:pt x="110916" y="28888"/>
                    </a:cubicBezTo>
                    <a:cubicBezTo>
                      <a:pt x="110916" y="25185"/>
                      <a:pt x="110916" y="25185"/>
                      <a:pt x="110916" y="25185"/>
                    </a:cubicBezTo>
                    <a:cubicBezTo>
                      <a:pt x="110916" y="24444"/>
                      <a:pt x="110916" y="24444"/>
                      <a:pt x="110916" y="24444"/>
                    </a:cubicBezTo>
                    <a:cubicBezTo>
                      <a:pt x="111872" y="22962"/>
                      <a:pt x="111872" y="22962"/>
                      <a:pt x="111872" y="22962"/>
                    </a:cubicBezTo>
                    <a:cubicBezTo>
                      <a:pt x="112350" y="21481"/>
                      <a:pt x="112350" y="21481"/>
                      <a:pt x="112350" y="21481"/>
                    </a:cubicBezTo>
                    <a:cubicBezTo>
                      <a:pt x="112350" y="18518"/>
                      <a:pt x="112350" y="18518"/>
                      <a:pt x="112350" y="18518"/>
                    </a:cubicBezTo>
                    <a:cubicBezTo>
                      <a:pt x="110916" y="16296"/>
                      <a:pt x="110916" y="16296"/>
                      <a:pt x="110916" y="16296"/>
                    </a:cubicBezTo>
                    <a:cubicBezTo>
                      <a:pt x="110916" y="15555"/>
                      <a:pt x="110916" y="15555"/>
                      <a:pt x="110916" y="15555"/>
                    </a:cubicBezTo>
                    <a:cubicBezTo>
                      <a:pt x="110438" y="13333"/>
                      <a:pt x="110438" y="13333"/>
                      <a:pt x="110438" y="13333"/>
                    </a:cubicBezTo>
                    <a:cubicBezTo>
                      <a:pt x="109960" y="9629"/>
                      <a:pt x="109960" y="9629"/>
                      <a:pt x="109960" y="9629"/>
                    </a:cubicBezTo>
                    <a:cubicBezTo>
                      <a:pt x="109960" y="9629"/>
                      <a:pt x="62151" y="6666"/>
                      <a:pt x="46374" y="5185"/>
                    </a:cubicBezTo>
                    <a:cubicBezTo>
                      <a:pt x="36334" y="4444"/>
                      <a:pt x="6693" y="0"/>
                      <a:pt x="6693" y="0"/>
                    </a:cubicBezTo>
                    <a:cubicBezTo>
                      <a:pt x="0" y="108888"/>
                      <a:pt x="0" y="108888"/>
                      <a:pt x="0" y="108888"/>
                    </a:cubicBezTo>
                    <a:cubicBezTo>
                      <a:pt x="0" y="108888"/>
                      <a:pt x="43505" y="113333"/>
                      <a:pt x="58326" y="114814"/>
                    </a:cubicBezTo>
                    <a:cubicBezTo>
                      <a:pt x="73147" y="116296"/>
                      <a:pt x="119043" y="119259"/>
                      <a:pt x="119043" y="119259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90" name="Shape 1396">
                <a:extLst>
                  <a:ext uri="{FF2B5EF4-FFF2-40B4-BE49-F238E27FC236}">
                    <a16:creationId xmlns:a16="http://schemas.microsoft.com/office/drawing/2014/main" id="{1DFF9196-1259-4AE8-9FAE-F4573407A13E}"/>
                  </a:ext>
                </a:extLst>
              </p:cNvPr>
              <p:cNvSpPr/>
              <p:nvPr/>
            </p:nvSpPr>
            <p:spPr>
              <a:xfrm>
                <a:off x="6470925" y="2963640"/>
                <a:ext cx="972006" cy="763918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14021" y="120000"/>
                    </a:moveTo>
                    <a:cubicBezTo>
                      <a:pt x="118291" y="40723"/>
                      <a:pt x="118291" y="40723"/>
                      <a:pt x="118291" y="40723"/>
                    </a:cubicBezTo>
                    <a:cubicBezTo>
                      <a:pt x="118291" y="40723"/>
                      <a:pt x="118291" y="40723"/>
                      <a:pt x="118291" y="40723"/>
                    </a:cubicBezTo>
                    <a:cubicBezTo>
                      <a:pt x="118291" y="40723"/>
                      <a:pt x="118291" y="40723"/>
                      <a:pt x="118291" y="40723"/>
                    </a:cubicBezTo>
                    <a:cubicBezTo>
                      <a:pt x="120000" y="15203"/>
                      <a:pt x="120000" y="15203"/>
                      <a:pt x="120000" y="15203"/>
                    </a:cubicBezTo>
                    <a:cubicBezTo>
                      <a:pt x="88825" y="11402"/>
                      <a:pt x="88825" y="11402"/>
                      <a:pt x="88825" y="11402"/>
                    </a:cubicBezTo>
                    <a:cubicBezTo>
                      <a:pt x="12811" y="0"/>
                      <a:pt x="12811" y="0"/>
                      <a:pt x="12811" y="0"/>
                    </a:cubicBezTo>
                    <a:cubicBezTo>
                      <a:pt x="0" y="104253"/>
                      <a:pt x="0" y="104253"/>
                      <a:pt x="0" y="104253"/>
                    </a:cubicBezTo>
                    <a:cubicBezTo>
                      <a:pt x="97793" y="118914"/>
                      <a:pt x="97793" y="118914"/>
                      <a:pt x="97793" y="118914"/>
                    </a:cubicBezTo>
                    <a:cubicBezTo>
                      <a:pt x="97793" y="118914"/>
                      <a:pt x="104626" y="119457"/>
                      <a:pt x="114021" y="12000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91" name="Shape 1397">
                <a:extLst>
                  <a:ext uri="{FF2B5EF4-FFF2-40B4-BE49-F238E27FC236}">
                    <a16:creationId xmlns:a16="http://schemas.microsoft.com/office/drawing/2014/main" id="{E25BC450-5F39-4030-B049-056E6F3F0CDF}"/>
                  </a:ext>
                </a:extLst>
              </p:cNvPr>
              <p:cNvSpPr/>
              <p:nvPr/>
            </p:nvSpPr>
            <p:spPr>
              <a:xfrm>
                <a:off x="5825643" y="2689936"/>
                <a:ext cx="747383" cy="935494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20000" y="35109"/>
                    </a:moveTo>
                    <a:lnTo>
                      <a:pt x="80000" y="29868"/>
                    </a:lnTo>
                    <a:lnTo>
                      <a:pt x="84590" y="8908"/>
                    </a:lnTo>
                    <a:lnTo>
                      <a:pt x="25573" y="0"/>
                    </a:lnTo>
                    <a:lnTo>
                      <a:pt x="0" y="105327"/>
                    </a:lnTo>
                    <a:lnTo>
                      <a:pt x="103606" y="119999"/>
                    </a:lnTo>
                    <a:lnTo>
                      <a:pt x="120000" y="35109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92" name="Shape 1398">
                <a:extLst>
                  <a:ext uri="{FF2B5EF4-FFF2-40B4-BE49-F238E27FC236}">
                    <a16:creationId xmlns:a16="http://schemas.microsoft.com/office/drawing/2014/main" id="{D877229D-514C-4B75-A12B-07671A5960EC}"/>
                  </a:ext>
                </a:extLst>
              </p:cNvPr>
              <p:cNvSpPr/>
              <p:nvPr/>
            </p:nvSpPr>
            <p:spPr>
              <a:xfrm>
                <a:off x="5127266" y="2518362"/>
                <a:ext cx="857653" cy="1299068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2419" y="41920"/>
                    </a:moveTo>
                    <a:cubicBezTo>
                      <a:pt x="483" y="42240"/>
                      <a:pt x="483" y="42240"/>
                      <a:pt x="483" y="42240"/>
                    </a:cubicBezTo>
                    <a:cubicBezTo>
                      <a:pt x="0" y="43200"/>
                      <a:pt x="0" y="43200"/>
                      <a:pt x="0" y="43200"/>
                    </a:cubicBezTo>
                    <a:cubicBezTo>
                      <a:pt x="483" y="44480"/>
                      <a:pt x="483" y="44480"/>
                      <a:pt x="483" y="44480"/>
                    </a:cubicBezTo>
                    <a:cubicBezTo>
                      <a:pt x="967" y="45440"/>
                      <a:pt x="967" y="45440"/>
                      <a:pt x="967" y="45440"/>
                    </a:cubicBezTo>
                    <a:cubicBezTo>
                      <a:pt x="1451" y="45760"/>
                      <a:pt x="1451" y="45760"/>
                      <a:pt x="1451" y="45760"/>
                    </a:cubicBezTo>
                    <a:cubicBezTo>
                      <a:pt x="3387" y="46400"/>
                      <a:pt x="3387" y="46400"/>
                      <a:pt x="3387" y="46400"/>
                    </a:cubicBezTo>
                    <a:cubicBezTo>
                      <a:pt x="77419" y="120000"/>
                      <a:pt x="77419" y="120000"/>
                      <a:pt x="77419" y="120000"/>
                    </a:cubicBezTo>
                    <a:cubicBezTo>
                      <a:pt x="78870" y="118720"/>
                      <a:pt x="78870" y="118720"/>
                      <a:pt x="78870" y="118720"/>
                    </a:cubicBezTo>
                    <a:cubicBezTo>
                      <a:pt x="79354" y="117440"/>
                      <a:pt x="79354" y="117440"/>
                      <a:pt x="79354" y="117440"/>
                    </a:cubicBezTo>
                    <a:cubicBezTo>
                      <a:pt x="79354" y="113280"/>
                      <a:pt x="79354" y="113280"/>
                      <a:pt x="79354" y="113280"/>
                    </a:cubicBezTo>
                    <a:cubicBezTo>
                      <a:pt x="79354" y="108800"/>
                      <a:pt x="79354" y="108800"/>
                      <a:pt x="79354" y="108800"/>
                    </a:cubicBezTo>
                    <a:cubicBezTo>
                      <a:pt x="79354" y="105280"/>
                      <a:pt x="79354" y="105280"/>
                      <a:pt x="79354" y="105280"/>
                    </a:cubicBezTo>
                    <a:cubicBezTo>
                      <a:pt x="80806" y="104320"/>
                      <a:pt x="80806" y="104320"/>
                      <a:pt x="80806" y="104320"/>
                    </a:cubicBezTo>
                    <a:cubicBezTo>
                      <a:pt x="84193" y="103680"/>
                      <a:pt x="84193" y="103680"/>
                      <a:pt x="84193" y="103680"/>
                    </a:cubicBezTo>
                    <a:cubicBezTo>
                      <a:pt x="85161" y="104960"/>
                      <a:pt x="85161" y="104960"/>
                      <a:pt x="85161" y="104960"/>
                    </a:cubicBezTo>
                    <a:cubicBezTo>
                      <a:pt x="87096" y="104320"/>
                      <a:pt x="87096" y="104320"/>
                      <a:pt x="87096" y="104320"/>
                    </a:cubicBezTo>
                    <a:cubicBezTo>
                      <a:pt x="89516" y="105600"/>
                      <a:pt x="89516" y="105600"/>
                      <a:pt x="89516" y="105600"/>
                    </a:cubicBezTo>
                    <a:cubicBezTo>
                      <a:pt x="90967" y="106240"/>
                      <a:pt x="90967" y="106240"/>
                      <a:pt x="90967" y="106240"/>
                    </a:cubicBezTo>
                    <a:cubicBezTo>
                      <a:pt x="92419" y="105600"/>
                      <a:pt x="92419" y="105600"/>
                      <a:pt x="92419" y="105600"/>
                    </a:cubicBezTo>
                    <a:cubicBezTo>
                      <a:pt x="92419" y="105600"/>
                      <a:pt x="94354" y="101120"/>
                      <a:pt x="95322" y="99840"/>
                    </a:cubicBezTo>
                    <a:cubicBezTo>
                      <a:pt x="95806" y="97920"/>
                      <a:pt x="97741" y="91840"/>
                      <a:pt x="97741" y="91840"/>
                    </a:cubicBezTo>
                    <a:cubicBezTo>
                      <a:pt x="120000" y="15680"/>
                      <a:pt x="120000" y="15680"/>
                      <a:pt x="120000" y="15680"/>
                    </a:cubicBezTo>
                    <a:cubicBezTo>
                      <a:pt x="120000" y="15680"/>
                      <a:pt x="78870" y="9920"/>
                      <a:pt x="64838" y="7680"/>
                    </a:cubicBezTo>
                    <a:cubicBezTo>
                      <a:pt x="53709" y="6080"/>
                      <a:pt x="20322" y="0"/>
                      <a:pt x="20322" y="0"/>
                    </a:cubicBezTo>
                    <a:cubicBezTo>
                      <a:pt x="3870" y="41600"/>
                      <a:pt x="3870" y="41600"/>
                      <a:pt x="3870" y="41600"/>
                    </a:cubicBezTo>
                    <a:lnTo>
                      <a:pt x="2419" y="41920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93" name="Shape 1399">
                <a:extLst>
                  <a:ext uri="{FF2B5EF4-FFF2-40B4-BE49-F238E27FC236}">
                    <a16:creationId xmlns:a16="http://schemas.microsoft.com/office/drawing/2014/main" id="{740418D5-67B3-4E8C-A828-D60D8029D0CF}"/>
                  </a:ext>
                </a:extLst>
              </p:cNvPr>
              <p:cNvSpPr/>
              <p:nvPr/>
            </p:nvSpPr>
            <p:spPr>
              <a:xfrm>
                <a:off x="4763785" y="1709504"/>
                <a:ext cx="1065942" cy="902815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97792" y="120000"/>
                    </a:moveTo>
                    <a:cubicBezTo>
                      <a:pt x="104805" y="83678"/>
                      <a:pt x="104805" y="83678"/>
                      <a:pt x="104805" y="83678"/>
                    </a:cubicBezTo>
                    <a:cubicBezTo>
                      <a:pt x="104805" y="81379"/>
                      <a:pt x="104805" y="81379"/>
                      <a:pt x="104805" y="81379"/>
                    </a:cubicBezTo>
                    <a:cubicBezTo>
                      <a:pt x="105194" y="80459"/>
                      <a:pt x="105194" y="80459"/>
                      <a:pt x="105194" y="80459"/>
                    </a:cubicBezTo>
                    <a:cubicBezTo>
                      <a:pt x="107142" y="79540"/>
                      <a:pt x="107142" y="79540"/>
                      <a:pt x="107142" y="79540"/>
                    </a:cubicBezTo>
                    <a:cubicBezTo>
                      <a:pt x="107142" y="78620"/>
                      <a:pt x="107142" y="78620"/>
                      <a:pt x="107142" y="78620"/>
                    </a:cubicBezTo>
                    <a:cubicBezTo>
                      <a:pt x="107532" y="76781"/>
                      <a:pt x="107532" y="76781"/>
                      <a:pt x="107532" y="76781"/>
                    </a:cubicBezTo>
                    <a:cubicBezTo>
                      <a:pt x="107532" y="73103"/>
                      <a:pt x="107532" y="73103"/>
                      <a:pt x="107532" y="73103"/>
                    </a:cubicBezTo>
                    <a:cubicBezTo>
                      <a:pt x="107922" y="72183"/>
                      <a:pt x="107922" y="72183"/>
                      <a:pt x="107922" y="72183"/>
                    </a:cubicBezTo>
                    <a:cubicBezTo>
                      <a:pt x="106753" y="70804"/>
                      <a:pt x="106753" y="70804"/>
                      <a:pt x="106753" y="70804"/>
                    </a:cubicBezTo>
                    <a:cubicBezTo>
                      <a:pt x="106363" y="70804"/>
                      <a:pt x="106363" y="70804"/>
                      <a:pt x="106363" y="70804"/>
                    </a:cubicBezTo>
                    <a:cubicBezTo>
                      <a:pt x="105584" y="70344"/>
                      <a:pt x="105584" y="70344"/>
                      <a:pt x="105584" y="70344"/>
                    </a:cubicBezTo>
                    <a:cubicBezTo>
                      <a:pt x="104805" y="68965"/>
                      <a:pt x="104805" y="68965"/>
                      <a:pt x="104805" y="68965"/>
                    </a:cubicBezTo>
                    <a:cubicBezTo>
                      <a:pt x="105194" y="66666"/>
                      <a:pt x="105194" y="66666"/>
                      <a:pt x="105194" y="66666"/>
                    </a:cubicBezTo>
                    <a:cubicBezTo>
                      <a:pt x="105584" y="65287"/>
                      <a:pt x="105584" y="65287"/>
                      <a:pt x="105584" y="65287"/>
                    </a:cubicBezTo>
                    <a:cubicBezTo>
                      <a:pt x="107922" y="62988"/>
                      <a:pt x="107922" y="62988"/>
                      <a:pt x="107922" y="62988"/>
                    </a:cubicBezTo>
                    <a:cubicBezTo>
                      <a:pt x="111038" y="59310"/>
                      <a:pt x="111038" y="59310"/>
                      <a:pt x="111038" y="59310"/>
                    </a:cubicBezTo>
                    <a:cubicBezTo>
                      <a:pt x="112207" y="57471"/>
                      <a:pt x="112207" y="57471"/>
                      <a:pt x="112207" y="57471"/>
                    </a:cubicBezTo>
                    <a:cubicBezTo>
                      <a:pt x="112597" y="55632"/>
                      <a:pt x="112597" y="55632"/>
                      <a:pt x="112597" y="55632"/>
                    </a:cubicBezTo>
                    <a:cubicBezTo>
                      <a:pt x="113376" y="55172"/>
                      <a:pt x="113376" y="55172"/>
                      <a:pt x="113376" y="55172"/>
                    </a:cubicBezTo>
                    <a:cubicBezTo>
                      <a:pt x="114155" y="52873"/>
                      <a:pt x="114155" y="52873"/>
                      <a:pt x="114155" y="52873"/>
                    </a:cubicBezTo>
                    <a:cubicBezTo>
                      <a:pt x="115714" y="51034"/>
                      <a:pt x="115714" y="51034"/>
                      <a:pt x="115714" y="51034"/>
                    </a:cubicBezTo>
                    <a:cubicBezTo>
                      <a:pt x="116883" y="49195"/>
                      <a:pt x="116883" y="49195"/>
                      <a:pt x="116883" y="49195"/>
                    </a:cubicBezTo>
                    <a:cubicBezTo>
                      <a:pt x="118441" y="47816"/>
                      <a:pt x="118441" y="47816"/>
                      <a:pt x="118441" y="47816"/>
                    </a:cubicBezTo>
                    <a:cubicBezTo>
                      <a:pt x="118831" y="45517"/>
                      <a:pt x="118831" y="45517"/>
                      <a:pt x="118831" y="45517"/>
                    </a:cubicBezTo>
                    <a:cubicBezTo>
                      <a:pt x="120000" y="45057"/>
                      <a:pt x="120000" y="45057"/>
                      <a:pt x="120000" y="45057"/>
                    </a:cubicBezTo>
                    <a:cubicBezTo>
                      <a:pt x="120000" y="43218"/>
                      <a:pt x="120000" y="43218"/>
                      <a:pt x="120000" y="43218"/>
                    </a:cubicBezTo>
                    <a:cubicBezTo>
                      <a:pt x="119610" y="41379"/>
                      <a:pt x="119610" y="41379"/>
                      <a:pt x="119610" y="41379"/>
                    </a:cubicBezTo>
                    <a:cubicBezTo>
                      <a:pt x="118831" y="40000"/>
                      <a:pt x="118831" y="40000"/>
                      <a:pt x="118831" y="40000"/>
                    </a:cubicBezTo>
                    <a:cubicBezTo>
                      <a:pt x="116883" y="38160"/>
                      <a:pt x="116883" y="38160"/>
                      <a:pt x="116883" y="38160"/>
                    </a:cubicBezTo>
                    <a:cubicBezTo>
                      <a:pt x="115714" y="35862"/>
                      <a:pt x="115714" y="35862"/>
                      <a:pt x="115714" y="35862"/>
                    </a:cubicBezTo>
                    <a:cubicBezTo>
                      <a:pt x="115714" y="34022"/>
                      <a:pt x="115714" y="34022"/>
                      <a:pt x="115714" y="34022"/>
                    </a:cubicBezTo>
                    <a:cubicBezTo>
                      <a:pt x="90000" y="26206"/>
                      <a:pt x="90000" y="26206"/>
                      <a:pt x="90000" y="26206"/>
                    </a:cubicBezTo>
                    <a:cubicBezTo>
                      <a:pt x="85714" y="25747"/>
                      <a:pt x="85714" y="25747"/>
                      <a:pt x="85714" y="25747"/>
                    </a:cubicBezTo>
                    <a:cubicBezTo>
                      <a:pt x="84155" y="26206"/>
                      <a:pt x="84155" y="26206"/>
                      <a:pt x="84155" y="26206"/>
                    </a:cubicBezTo>
                    <a:cubicBezTo>
                      <a:pt x="82207" y="25747"/>
                      <a:pt x="82207" y="25747"/>
                      <a:pt x="82207" y="25747"/>
                    </a:cubicBezTo>
                    <a:cubicBezTo>
                      <a:pt x="80649" y="26206"/>
                      <a:pt x="80649" y="26206"/>
                      <a:pt x="80649" y="26206"/>
                    </a:cubicBezTo>
                    <a:cubicBezTo>
                      <a:pt x="69350" y="26666"/>
                      <a:pt x="69350" y="26666"/>
                      <a:pt x="69350" y="26666"/>
                    </a:cubicBezTo>
                    <a:cubicBezTo>
                      <a:pt x="68181" y="25747"/>
                      <a:pt x="68181" y="25747"/>
                      <a:pt x="68181" y="25747"/>
                    </a:cubicBezTo>
                    <a:cubicBezTo>
                      <a:pt x="67012" y="26206"/>
                      <a:pt x="67012" y="26206"/>
                      <a:pt x="67012" y="26206"/>
                    </a:cubicBezTo>
                    <a:cubicBezTo>
                      <a:pt x="65844" y="26666"/>
                      <a:pt x="65844" y="26666"/>
                      <a:pt x="65844" y="26666"/>
                    </a:cubicBezTo>
                    <a:cubicBezTo>
                      <a:pt x="65064" y="26666"/>
                      <a:pt x="65064" y="26666"/>
                      <a:pt x="65064" y="26666"/>
                    </a:cubicBezTo>
                    <a:cubicBezTo>
                      <a:pt x="63896" y="26206"/>
                      <a:pt x="63896" y="26206"/>
                      <a:pt x="63896" y="26206"/>
                    </a:cubicBezTo>
                    <a:cubicBezTo>
                      <a:pt x="63896" y="25747"/>
                      <a:pt x="63896" y="25747"/>
                      <a:pt x="63896" y="25747"/>
                    </a:cubicBezTo>
                    <a:cubicBezTo>
                      <a:pt x="61948" y="25747"/>
                      <a:pt x="61948" y="25747"/>
                      <a:pt x="61948" y="25747"/>
                    </a:cubicBezTo>
                    <a:cubicBezTo>
                      <a:pt x="60779" y="25287"/>
                      <a:pt x="60779" y="25287"/>
                      <a:pt x="60779" y="25287"/>
                    </a:cubicBezTo>
                    <a:cubicBezTo>
                      <a:pt x="60389" y="24367"/>
                      <a:pt x="60389" y="24367"/>
                      <a:pt x="60389" y="24367"/>
                    </a:cubicBezTo>
                    <a:cubicBezTo>
                      <a:pt x="60389" y="23908"/>
                      <a:pt x="60389" y="23908"/>
                      <a:pt x="60389" y="23908"/>
                    </a:cubicBezTo>
                    <a:cubicBezTo>
                      <a:pt x="58831" y="23448"/>
                      <a:pt x="58831" y="23448"/>
                      <a:pt x="58831" y="23448"/>
                    </a:cubicBezTo>
                    <a:cubicBezTo>
                      <a:pt x="55714" y="22528"/>
                      <a:pt x="55714" y="22528"/>
                      <a:pt x="55714" y="22528"/>
                    </a:cubicBezTo>
                    <a:cubicBezTo>
                      <a:pt x="53766" y="21609"/>
                      <a:pt x="53766" y="21609"/>
                      <a:pt x="53766" y="21609"/>
                    </a:cubicBezTo>
                    <a:cubicBezTo>
                      <a:pt x="52987" y="21149"/>
                      <a:pt x="52987" y="21149"/>
                      <a:pt x="52987" y="21149"/>
                    </a:cubicBezTo>
                    <a:cubicBezTo>
                      <a:pt x="50649" y="21609"/>
                      <a:pt x="50649" y="21609"/>
                      <a:pt x="50649" y="21609"/>
                    </a:cubicBezTo>
                    <a:cubicBezTo>
                      <a:pt x="47142" y="22528"/>
                      <a:pt x="47142" y="22528"/>
                      <a:pt x="47142" y="22528"/>
                    </a:cubicBezTo>
                    <a:cubicBezTo>
                      <a:pt x="42857" y="21149"/>
                      <a:pt x="42857" y="21149"/>
                      <a:pt x="42857" y="21149"/>
                    </a:cubicBezTo>
                    <a:cubicBezTo>
                      <a:pt x="40129" y="18390"/>
                      <a:pt x="40129" y="18390"/>
                      <a:pt x="40129" y="18390"/>
                    </a:cubicBezTo>
                    <a:cubicBezTo>
                      <a:pt x="40129" y="18390"/>
                      <a:pt x="41298" y="15172"/>
                      <a:pt x="40909" y="11034"/>
                    </a:cubicBezTo>
                    <a:cubicBezTo>
                      <a:pt x="40519" y="6436"/>
                      <a:pt x="38571" y="5517"/>
                      <a:pt x="38571" y="5517"/>
                    </a:cubicBezTo>
                    <a:cubicBezTo>
                      <a:pt x="36623" y="5517"/>
                      <a:pt x="36623" y="5517"/>
                      <a:pt x="36623" y="5517"/>
                    </a:cubicBezTo>
                    <a:cubicBezTo>
                      <a:pt x="35064" y="4597"/>
                      <a:pt x="35064" y="4597"/>
                      <a:pt x="35064" y="4597"/>
                    </a:cubicBezTo>
                    <a:cubicBezTo>
                      <a:pt x="35064" y="4597"/>
                      <a:pt x="35064" y="1839"/>
                      <a:pt x="33116" y="1839"/>
                    </a:cubicBezTo>
                    <a:cubicBezTo>
                      <a:pt x="31168" y="1839"/>
                      <a:pt x="31168" y="1839"/>
                      <a:pt x="31168" y="1839"/>
                    </a:cubicBezTo>
                    <a:cubicBezTo>
                      <a:pt x="28831" y="1379"/>
                      <a:pt x="28831" y="1379"/>
                      <a:pt x="28831" y="1379"/>
                    </a:cubicBezTo>
                    <a:cubicBezTo>
                      <a:pt x="27272" y="0"/>
                      <a:pt x="27272" y="0"/>
                      <a:pt x="27272" y="0"/>
                    </a:cubicBezTo>
                    <a:cubicBezTo>
                      <a:pt x="27272" y="3218"/>
                      <a:pt x="27272" y="3218"/>
                      <a:pt x="27272" y="3218"/>
                    </a:cubicBezTo>
                    <a:cubicBezTo>
                      <a:pt x="26493" y="5977"/>
                      <a:pt x="26493" y="5977"/>
                      <a:pt x="26493" y="5977"/>
                    </a:cubicBezTo>
                    <a:cubicBezTo>
                      <a:pt x="24545" y="10114"/>
                      <a:pt x="24545" y="10114"/>
                      <a:pt x="24545" y="10114"/>
                    </a:cubicBezTo>
                    <a:cubicBezTo>
                      <a:pt x="24935" y="12873"/>
                      <a:pt x="24935" y="12873"/>
                      <a:pt x="24935" y="12873"/>
                    </a:cubicBezTo>
                    <a:cubicBezTo>
                      <a:pt x="24545" y="15172"/>
                      <a:pt x="24545" y="15172"/>
                      <a:pt x="24545" y="15172"/>
                    </a:cubicBezTo>
                    <a:cubicBezTo>
                      <a:pt x="23376" y="17471"/>
                      <a:pt x="23376" y="17471"/>
                      <a:pt x="23376" y="17471"/>
                    </a:cubicBezTo>
                    <a:cubicBezTo>
                      <a:pt x="22597" y="19770"/>
                      <a:pt x="22597" y="19770"/>
                      <a:pt x="22597" y="19770"/>
                    </a:cubicBezTo>
                    <a:cubicBezTo>
                      <a:pt x="21428" y="22988"/>
                      <a:pt x="21428" y="22988"/>
                      <a:pt x="21428" y="22988"/>
                    </a:cubicBezTo>
                    <a:cubicBezTo>
                      <a:pt x="20649" y="25287"/>
                      <a:pt x="20649" y="25287"/>
                      <a:pt x="20649" y="25287"/>
                    </a:cubicBezTo>
                    <a:cubicBezTo>
                      <a:pt x="18311" y="30804"/>
                      <a:pt x="18311" y="30804"/>
                      <a:pt x="18311" y="30804"/>
                    </a:cubicBezTo>
                    <a:cubicBezTo>
                      <a:pt x="15584" y="39080"/>
                      <a:pt x="15584" y="39080"/>
                      <a:pt x="15584" y="39080"/>
                    </a:cubicBezTo>
                    <a:cubicBezTo>
                      <a:pt x="13636" y="45057"/>
                      <a:pt x="13636" y="45057"/>
                      <a:pt x="13636" y="45057"/>
                    </a:cubicBezTo>
                    <a:cubicBezTo>
                      <a:pt x="11688" y="51034"/>
                      <a:pt x="11688" y="51034"/>
                      <a:pt x="11688" y="51034"/>
                    </a:cubicBezTo>
                    <a:cubicBezTo>
                      <a:pt x="9350" y="55172"/>
                      <a:pt x="9350" y="55172"/>
                      <a:pt x="9350" y="55172"/>
                    </a:cubicBezTo>
                    <a:cubicBezTo>
                      <a:pt x="8571" y="57011"/>
                      <a:pt x="8571" y="57011"/>
                      <a:pt x="8571" y="57011"/>
                    </a:cubicBezTo>
                    <a:cubicBezTo>
                      <a:pt x="7012" y="59770"/>
                      <a:pt x="7012" y="59770"/>
                      <a:pt x="7012" y="59770"/>
                    </a:cubicBezTo>
                    <a:cubicBezTo>
                      <a:pt x="5844" y="61149"/>
                      <a:pt x="5844" y="61149"/>
                      <a:pt x="5844" y="61149"/>
                    </a:cubicBezTo>
                    <a:cubicBezTo>
                      <a:pt x="5454" y="62528"/>
                      <a:pt x="5454" y="62528"/>
                      <a:pt x="5454" y="62528"/>
                    </a:cubicBezTo>
                    <a:cubicBezTo>
                      <a:pt x="4285" y="64827"/>
                      <a:pt x="4285" y="64827"/>
                      <a:pt x="4285" y="64827"/>
                    </a:cubicBezTo>
                    <a:cubicBezTo>
                      <a:pt x="1948" y="68045"/>
                      <a:pt x="1948" y="68045"/>
                      <a:pt x="1948" y="68045"/>
                    </a:cubicBezTo>
                    <a:cubicBezTo>
                      <a:pt x="1168" y="69885"/>
                      <a:pt x="1168" y="69885"/>
                      <a:pt x="1168" y="69885"/>
                    </a:cubicBezTo>
                    <a:cubicBezTo>
                      <a:pt x="1948" y="73563"/>
                      <a:pt x="1948" y="73563"/>
                      <a:pt x="1948" y="73563"/>
                    </a:cubicBezTo>
                    <a:cubicBezTo>
                      <a:pt x="1948" y="74482"/>
                      <a:pt x="1948" y="74482"/>
                      <a:pt x="1948" y="74482"/>
                    </a:cubicBezTo>
                    <a:cubicBezTo>
                      <a:pt x="1948" y="75402"/>
                      <a:pt x="1948" y="75402"/>
                      <a:pt x="1948" y="75402"/>
                    </a:cubicBezTo>
                    <a:cubicBezTo>
                      <a:pt x="1558" y="75862"/>
                      <a:pt x="1558" y="75862"/>
                      <a:pt x="1558" y="75862"/>
                    </a:cubicBezTo>
                    <a:cubicBezTo>
                      <a:pt x="1168" y="77701"/>
                      <a:pt x="1168" y="77701"/>
                      <a:pt x="1168" y="77701"/>
                    </a:cubicBezTo>
                    <a:cubicBezTo>
                      <a:pt x="389" y="78160"/>
                      <a:pt x="389" y="78160"/>
                      <a:pt x="389" y="78160"/>
                    </a:cubicBezTo>
                    <a:cubicBezTo>
                      <a:pt x="389" y="80000"/>
                      <a:pt x="389" y="80000"/>
                      <a:pt x="389" y="80000"/>
                    </a:cubicBezTo>
                    <a:cubicBezTo>
                      <a:pt x="0" y="83678"/>
                      <a:pt x="0" y="83678"/>
                      <a:pt x="0" y="83678"/>
                    </a:cubicBezTo>
                    <a:cubicBezTo>
                      <a:pt x="0" y="85977"/>
                      <a:pt x="0" y="85977"/>
                      <a:pt x="0" y="85977"/>
                    </a:cubicBezTo>
                    <a:cubicBezTo>
                      <a:pt x="779" y="87356"/>
                      <a:pt x="779" y="87356"/>
                      <a:pt x="779" y="87356"/>
                    </a:cubicBezTo>
                    <a:cubicBezTo>
                      <a:pt x="1168" y="88735"/>
                      <a:pt x="1168" y="88735"/>
                      <a:pt x="1168" y="88735"/>
                    </a:cubicBezTo>
                    <a:cubicBezTo>
                      <a:pt x="57272" y="107586"/>
                      <a:pt x="57272" y="107586"/>
                      <a:pt x="57272" y="107586"/>
                    </a:cubicBezTo>
                    <a:cubicBezTo>
                      <a:pt x="57272" y="107586"/>
                      <a:pt x="84155" y="116321"/>
                      <a:pt x="93116" y="118620"/>
                    </a:cubicBezTo>
                    <a:cubicBezTo>
                      <a:pt x="94285" y="119080"/>
                      <a:pt x="95844" y="119540"/>
                      <a:pt x="97792" y="12000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94" name="Shape 1400">
                <a:extLst>
                  <a:ext uri="{FF2B5EF4-FFF2-40B4-BE49-F238E27FC236}">
                    <a16:creationId xmlns:a16="http://schemas.microsoft.com/office/drawing/2014/main" id="{A2C57DE8-85BC-442C-9C30-BD413194BB0D}"/>
                  </a:ext>
                </a:extLst>
              </p:cNvPr>
              <p:cNvSpPr/>
              <p:nvPr/>
            </p:nvSpPr>
            <p:spPr>
              <a:xfrm>
                <a:off x="5633689" y="1468482"/>
                <a:ext cx="788225" cy="1290900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25263" y="42466"/>
                    </a:moveTo>
                    <a:cubicBezTo>
                      <a:pt x="25263" y="44396"/>
                      <a:pt x="24210" y="46005"/>
                      <a:pt x="24210" y="46005"/>
                    </a:cubicBezTo>
                    <a:cubicBezTo>
                      <a:pt x="24210" y="47292"/>
                      <a:pt x="24210" y="47292"/>
                      <a:pt x="24210" y="47292"/>
                    </a:cubicBezTo>
                    <a:cubicBezTo>
                      <a:pt x="25789" y="48900"/>
                      <a:pt x="25789" y="48900"/>
                      <a:pt x="25789" y="48900"/>
                    </a:cubicBezTo>
                    <a:cubicBezTo>
                      <a:pt x="28421" y="50187"/>
                      <a:pt x="28421" y="50187"/>
                      <a:pt x="28421" y="50187"/>
                    </a:cubicBezTo>
                    <a:cubicBezTo>
                      <a:pt x="29473" y="51152"/>
                      <a:pt x="29473" y="51152"/>
                      <a:pt x="29473" y="51152"/>
                    </a:cubicBezTo>
                    <a:cubicBezTo>
                      <a:pt x="29999" y="52439"/>
                      <a:pt x="29999" y="52439"/>
                      <a:pt x="29999" y="52439"/>
                    </a:cubicBezTo>
                    <a:cubicBezTo>
                      <a:pt x="29999" y="53726"/>
                      <a:pt x="29999" y="53726"/>
                      <a:pt x="29999" y="53726"/>
                    </a:cubicBezTo>
                    <a:cubicBezTo>
                      <a:pt x="28421" y="54048"/>
                      <a:pt x="28421" y="54048"/>
                      <a:pt x="28421" y="54048"/>
                    </a:cubicBezTo>
                    <a:cubicBezTo>
                      <a:pt x="27894" y="55656"/>
                      <a:pt x="27894" y="55656"/>
                      <a:pt x="27894" y="55656"/>
                    </a:cubicBezTo>
                    <a:cubicBezTo>
                      <a:pt x="25789" y="56621"/>
                      <a:pt x="25789" y="56621"/>
                      <a:pt x="25789" y="56621"/>
                    </a:cubicBezTo>
                    <a:cubicBezTo>
                      <a:pt x="24210" y="57908"/>
                      <a:pt x="24210" y="57908"/>
                      <a:pt x="24210" y="57908"/>
                    </a:cubicBezTo>
                    <a:cubicBezTo>
                      <a:pt x="22105" y="59195"/>
                      <a:pt x="22105" y="59195"/>
                      <a:pt x="22105" y="59195"/>
                    </a:cubicBezTo>
                    <a:cubicBezTo>
                      <a:pt x="21052" y="60804"/>
                      <a:pt x="21052" y="60804"/>
                      <a:pt x="21052" y="60804"/>
                    </a:cubicBezTo>
                    <a:cubicBezTo>
                      <a:pt x="20000" y="61126"/>
                      <a:pt x="20000" y="61126"/>
                      <a:pt x="20000" y="61126"/>
                    </a:cubicBezTo>
                    <a:cubicBezTo>
                      <a:pt x="19473" y="62412"/>
                      <a:pt x="19473" y="62412"/>
                      <a:pt x="19473" y="62412"/>
                    </a:cubicBezTo>
                    <a:cubicBezTo>
                      <a:pt x="17894" y="63699"/>
                      <a:pt x="17894" y="63699"/>
                      <a:pt x="17894" y="63699"/>
                    </a:cubicBezTo>
                    <a:cubicBezTo>
                      <a:pt x="13684" y="66273"/>
                      <a:pt x="13684" y="66273"/>
                      <a:pt x="13684" y="66273"/>
                    </a:cubicBezTo>
                    <a:cubicBezTo>
                      <a:pt x="10526" y="67882"/>
                      <a:pt x="10526" y="67882"/>
                      <a:pt x="10526" y="67882"/>
                    </a:cubicBezTo>
                    <a:cubicBezTo>
                      <a:pt x="10000" y="68847"/>
                      <a:pt x="10000" y="68847"/>
                      <a:pt x="10000" y="68847"/>
                    </a:cubicBezTo>
                    <a:cubicBezTo>
                      <a:pt x="9473" y="70455"/>
                      <a:pt x="9473" y="70455"/>
                      <a:pt x="9473" y="70455"/>
                    </a:cubicBezTo>
                    <a:cubicBezTo>
                      <a:pt x="10526" y="71420"/>
                      <a:pt x="10526" y="71420"/>
                      <a:pt x="10526" y="71420"/>
                    </a:cubicBezTo>
                    <a:cubicBezTo>
                      <a:pt x="11578" y="71742"/>
                      <a:pt x="11578" y="71742"/>
                      <a:pt x="11578" y="71742"/>
                    </a:cubicBezTo>
                    <a:cubicBezTo>
                      <a:pt x="12105" y="71742"/>
                      <a:pt x="12105" y="71742"/>
                      <a:pt x="12105" y="71742"/>
                    </a:cubicBezTo>
                    <a:cubicBezTo>
                      <a:pt x="13684" y="72707"/>
                      <a:pt x="13684" y="72707"/>
                      <a:pt x="13684" y="72707"/>
                    </a:cubicBezTo>
                    <a:cubicBezTo>
                      <a:pt x="13157" y="73351"/>
                      <a:pt x="13157" y="73351"/>
                      <a:pt x="13157" y="73351"/>
                    </a:cubicBezTo>
                    <a:cubicBezTo>
                      <a:pt x="13157" y="75924"/>
                      <a:pt x="13157" y="75924"/>
                      <a:pt x="13157" y="75924"/>
                    </a:cubicBezTo>
                    <a:cubicBezTo>
                      <a:pt x="12631" y="77211"/>
                      <a:pt x="12631" y="77211"/>
                      <a:pt x="12631" y="77211"/>
                    </a:cubicBezTo>
                    <a:cubicBezTo>
                      <a:pt x="12631" y="77855"/>
                      <a:pt x="12631" y="77855"/>
                      <a:pt x="12631" y="77855"/>
                    </a:cubicBezTo>
                    <a:cubicBezTo>
                      <a:pt x="10000" y="78498"/>
                      <a:pt x="10000" y="78498"/>
                      <a:pt x="10000" y="78498"/>
                    </a:cubicBezTo>
                    <a:cubicBezTo>
                      <a:pt x="9473" y="79142"/>
                      <a:pt x="9473" y="79142"/>
                      <a:pt x="9473" y="79142"/>
                    </a:cubicBezTo>
                    <a:cubicBezTo>
                      <a:pt x="9473" y="80750"/>
                      <a:pt x="9473" y="80750"/>
                      <a:pt x="9473" y="80750"/>
                    </a:cubicBezTo>
                    <a:cubicBezTo>
                      <a:pt x="0" y="106166"/>
                      <a:pt x="0" y="106166"/>
                      <a:pt x="0" y="106166"/>
                    </a:cubicBezTo>
                    <a:cubicBezTo>
                      <a:pt x="18421" y="108739"/>
                      <a:pt x="53684" y="113243"/>
                      <a:pt x="53684" y="113243"/>
                    </a:cubicBezTo>
                    <a:cubicBezTo>
                      <a:pt x="109473" y="119999"/>
                      <a:pt x="109473" y="119999"/>
                      <a:pt x="109473" y="119999"/>
                    </a:cubicBezTo>
                    <a:cubicBezTo>
                      <a:pt x="119999" y="82359"/>
                      <a:pt x="119999" y="82359"/>
                      <a:pt x="119999" y="82359"/>
                    </a:cubicBezTo>
                    <a:cubicBezTo>
                      <a:pt x="118947" y="81715"/>
                      <a:pt x="118947" y="81715"/>
                      <a:pt x="118947" y="81715"/>
                    </a:cubicBezTo>
                    <a:cubicBezTo>
                      <a:pt x="117894" y="81072"/>
                      <a:pt x="117894" y="81072"/>
                      <a:pt x="117894" y="81072"/>
                    </a:cubicBezTo>
                    <a:cubicBezTo>
                      <a:pt x="117894" y="80750"/>
                      <a:pt x="117894" y="80750"/>
                      <a:pt x="117894" y="80750"/>
                    </a:cubicBezTo>
                    <a:cubicBezTo>
                      <a:pt x="117368" y="79463"/>
                      <a:pt x="117368" y="79463"/>
                      <a:pt x="117368" y="79463"/>
                    </a:cubicBezTo>
                    <a:cubicBezTo>
                      <a:pt x="116315" y="78498"/>
                      <a:pt x="116315" y="78498"/>
                      <a:pt x="116315" y="78498"/>
                    </a:cubicBezTo>
                    <a:cubicBezTo>
                      <a:pt x="114736" y="77533"/>
                      <a:pt x="114736" y="77533"/>
                      <a:pt x="114736" y="77533"/>
                    </a:cubicBezTo>
                    <a:cubicBezTo>
                      <a:pt x="112631" y="77533"/>
                      <a:pt x="112631" y="77533"/>
                      <a:pt x="112631" y="77533"/>
                    </a:cubicBezTo>
                    <a:cubicBezTo>
                      <a:pt x="112105" y="79142"/>
                      <a:pt x="112105" y="79142"/>
                      <a:pt x="112105" y="79142"/>
                    </a:cubicBezTo>
                    <a:cubicBezTo>
                      <a:pt x="111578" y="80107"/>
                      <a:pt x="111578" y="80107"/>
                      <a:pt x="111578" y="80107"/>
                    </a:cubicBezTo>
                    <a:cubicBezTo>
                      <a:pt x="106315" y="79785"/>
                      <a:pt x="106315" y="79785"/>
                      <a:pt x="106315" y="79785"/>
                    </a:cubicBezTo>
                    <a:cubicBezTo>
                      <a:pt x="103684" y="79142"/>
                      <a:pt x="103684" y="79142"/>
                      <a:pt x="103684" y="79142"/>
                    </a:cubicBezTo>
                    <a:cubicBezTo>
                      <a:pt x="99473" y="78820"/>
                      <a:pt x="99473" y="78820"/>
                      <a:pt x="99473" y="78820"/>
                    </a:cubicBezTo>
                    <a:cubicBezTo>
                      <a:pt x="97368" y="78820"/>
                      <a:pt x="97368" y="78820"/>
                      <a:pt x="97368" y="78820"/>
                    </a:cubicBezTo>
                    <a:cubicBezTo>
                      <a:pt x="96842" y="79463"/>
                      <a:pt x="96842" y="79463"/>
                      <a:pt x="96842" y="79463"/>
                    </a:cubicBezTo>
                    <a:cubicBezTo>
                      <a:pt x="96842" y="80107"/>
                      <a:pt x="96842" y="80107"/>
                      <a:pt x="96842" y="80107"/>
                    </a:cubicBezTo>
                    <a:cubicBezTo>
                      <a:pt x="94210" y="79463"/>
                      <a:pt x="94210" y="79463"/>
                      <a:pt x="94210" y="79463"/>
                    </a:cubicBezTo>
                    <a:cubicBezTo>
                      <a:pt x="91578" y="78498"/>
                      <a:pt x="91578" y="78498"/>
                      <a:pt x="91578" y="78498"/>
                    </a:cubicBezTo>
                    <a:cubicBezTo>
                      <a:pt x="89999" y="78498"/>
                      <a:pt x="89999" y="78498"/>
                      <a:pt x="89999" y="78498"/>
                    </a:cubicBezTo>
                    <a:cubicBezTo>
                      <a:pt x="88947" y="78498"/>
                      <a:pt x="88947" y="78498"/>
                      <a:pt x="88947" y="78498"/>
                    </a:cubicBezTo>
                    <a:cubicBezTo>
                      <a:pt x="88421" y="79463"/>
                      <a:pt x="88421" y="79463"/>
                      <a:pt x="88421" y="79463"/>
                    </a:cubicBezTo>
                    <a:cubicBezTo>
                      <a:pt x="88421" y="80107"/>
                      <a:pt x="88421" y="80107"/>
                      <a:pt x="88421" y="80107"/>
                    </a:cubicBezTo>
                    <a:cubicBezTo>
                      <a:pt x="86315" y="80107"/>
                      <a:pt x="86315" y="80107"/>
                      <a:pt x="86315" y="80107"/>
                    </a:cubicBezTo>
                    <a:cubicBezTo>
                      <a:pt x="85263" y="78820"/>
                      <a:pt x="85263" y="78820"/>
                      <a:pt x="85263" y="78820"/>
                    </a:cubicBezTo>
                    <a:cubicBezTo>
                      <a:pt x="85263" y="77855"/>
                      <a:pt x="85263" y="77855"/>
                      <a:pt x="85263" y="77855"/>
                    </a:cubicBezTo>
                    <a:cubicBezTo>
                      <a:pt x="85263" y="76568"/>
                      <a:pt x="85263" y="76568"/>
                      <a:pt x="85263" y="76568"/>
                    </a:cubicBezTo>
                    <a:cubicBezTo>
                      <a:pt x="84210" y="74638"/>
                      <a:pt x="84210" y="74638"/>
                      <a:pt x="84210" y="74638"/>
                    </a:cubicBezTo>
                    <a:cubicBezTo>
                      <a:pt x="84210" y="72707"/>
                      <a:pt x="84210" y="72707"/>
                      <a:pt x="84210" y="72707"/>
                    </a:cubicBezTo>
                    <a:cubicBezTo>
                      <a:pt x="82105" y="72707"/>
                      <a:pt x="82105" y="72707"/>
                      <a:pt x="82105" y="72707"/>
                    </a:cubicBezTo>
                    <a:cubicBezTo>
                      <a:pt x="79473" y="71742"/>
                      <a:pt x="79473" y="71742"/>
                      <a:pt x="79473" y="71742"/>
                    </a:cubicBezTo>
                    <a:cubicBezTo>
                      <a:pt x="78421" y="70777"/>
                      <a:pt x="78421" y="70777"/>
                      <a:pt x="78421" y="70777"/>
                    </a:cubicBezTo>
                    <a:cubicBezTo>
                      <a:pt x="78421" y="70134"/>
                      <a:pt x="78421" y="70134"/>
                      <a:pt x="78421" y="70134"/>
                    </a:cubicBezTo>
                    <a:cubicBezTo>
                      <a:pt x="78421" y="68525"/>
                      <a:pt x="78421" y="68525"/>
                      <a:pt x="78421" y="68525"/>
                    </a:cubicBezTo>
                    <a:cubicBezTo>
                      <a:pt x="78421" y="66916"/>
                      <a:pt x="78421" y="66916"/>
                      <a:pt x="78421" y="66916"/>
                    </a:cubicBezTo>
                    <a:cubicBezTo>
                      <a:pt x="76315" y="65630"/>
                      <a:pt x="76315" y="65630"/>
                      <a:pt x="76315" y="65630"/>
                    </a:cubicBezTo>
                    <a:cubicBezTo>
                      <a:pt x="76315" y="64664"/>
                      <a:pt x="76315" y="64664"/>
                      <a:pt x="76315" y="64664"/>
                    </a:cubicBezTo>
                    <a:cubicBezTo>
                      <a:pt x="76315" y="62734"/>
                      <a:pt x="76315" y="62734"/>
                      <a:pt x="76315" y="62734"/>
                    </a:cubicBezTo>
                    <a:cubicBezTo>
                      <a:pt x="75789" y="60160"/>
                      <a:pt x="75789" y="60160"/>
                      <a:pt x="75789" y="60160"/>
                    </a:cubicBezTo>
                    <a:cubicBezTo>
                      <a:pt x="74736" y="58873"/>
                      <a:pt x="74736" y="58873"/>
                      <a:pt x="74736" y="58873"/>
                    </a:cubicBezTo>
                    <a:cubicBezTo>
                      <a:pt x="74210" y="57587"/>
                      <a:pt x="74210" y="57587"/>
                      <a:pt x="74210" y="57587"/>
                    </a:cubicBezTo>
                    <a:cubicBezTo>
                      <a:pt x="73157" y="57587"/>
                      <a:pt x="73157" y="57587"/>
                      <a:pt x="73157" y="57587"/>
                    </a:cubicBezTo>
                    <a:cubicBezTo>
                      <a:pt x="71052" y="58552"/>
                      <a:pt x="71052" y="58552"/>
                      <a:pt x="71052" y="58552"/>
                    </a:cubicBezTo>
                    <a:cubicBezTo>
                      <a:pt x="70000" y="58552"/>
                      <a:pt x="70000" y="58552"/>
                      <a:pt x="70000" y="58552"/>
                    </a:cubicBezTo>
                    <a:cubicBezTo>
                      <a:pt x="68421" y="58873"/>
                      <a:pt x="68421" y="58873"/>
                      <a:pt x="68421" y="58873"/>
                    </a:cubicBezTo>
                    <a:cubicBezTo>
                      <a:pt x="66842" y="59839"/>
                      <a:pt x="66842" y="59839"/>
                      <a:pt x="66842" y="59839"/>
                    </a:cubicBezTo>
                    <a:cubicBezTo>
                      <a:pt x="65789" y="59839"/>
                      <a:pt x="65789" y="59839"/>
                      <a:pt x="65789" y="59839"/>
                    </a:cubicBezTo>
                    <a:cubicBezTo>
                      <a:pt x="65789" y="58873"/>
                      <a:pt x="65789" y="58873"/>
                      <a:pt x="65789" y="58873"/>
                    </a:cubicBezTo>
                    <a:cubicBezTo>
                      <a:pt x="63684" y="58230"/>
                      <a:pt x="63684" y="58230"/>
                      <a:pt x="63684" y="58230"/>
                    </a:cubicBezTo>
                    <a:cubicBezTo>
                      <a:pt x="62631" y="57587"/>
                      <a:pt x="62631" y="57587"/>
                      <a:pt x="62631" y="57587"/>
                    </a:cubicBezTo>
                    <a:cubicBezTo>
                      <a:pt x="64210" y="55335"/>
                      <a:pt x="64210" y="55335"/>
                      <a:pt x="64210" y="55335"/>
                    </a:cubicBezTo>
                    <a:cubicBezTo>
                      <a:pt x="65789" y="54048"/>
                      <a:pt x="65789" y="54048"/>
                      <a:pt x="65789" y="54048"/>
                    </a:cubicBezTo>
                    <a:cubicBezTo>
                      <a:pt x="67368" y="54048"/>
                      <a:pt x="67368" y="54048"/>
                      <a:pt x="67368" y="54048"/>
                    </a:cubicBezTo>
                    <a:cubicBezTo>
                      <a:pt x="67894" y="53404"/>
                      <a:pt x="67894" y="53404"/>
                      <a:pt x="67894" y="53404"/>
                    </a:cubicBezTo>
                    <a:cubicBezTo>
                      <a:pt x="66842" y="51474"/>
                      <a:pt x="66842" y="51474"/>
                      <a:pt x="66842" y="51474"/>
                    </a:cubicBezTo>
                    <a:cubicBezTo>
                      <a:pt x="67368" y="49544"/>
                      <a:pt x="67368" y="49544"/>
                      <a:pt x="67368" y="49544"/>
                    </a:cubicBezTo>
                    <a:cubicBezTo>
                      <a:pt x="68947" y="47292"/>
                      <a:pt x="68947" y="47292"/>
                      <a:pt x="68947" y="47292"/>
                    </a:cubicBezTo>
                    <a:cubicBezTo>
                      <a:pt x="70526" y="45361"/>
                      <a:pt x="70526" y="45361"/>
                      <a:pt x="70526" y="45361"/>
                    </a:cubicBezTo>
                    <a:cubicBezTo>
                      <a:pt x="72105" y="43431"/>
                      <a:pt x="72105" y="43431"/>
                      <a:pt x="72105" y="43431"/>
                    </a:cubicBezTo>
                    <a:cubicBezTo>
                      <a:pt x="72105" y="42144"/>
                      <a:pt x="72105" y="42144"/>
                      <a:pt x="72105" y="42144"/>
                    </a:cubicBezTo>
                    <a:cubicBezTo>
                      <a:pt x="67368" y="41501"/>
                      <a:pt x="67368" y="41501"/>
                      <a:pt x="67368" y="41501"/>
                    </a:cubicBezTo>
                    <a:cubicBezTo>
                      <a:pt x="67368" y="41179"/>
                      <a:pt x="67368" y="41179"/>
                      <a:pt x="67368" y="41179"/>
                    </a:cubicBezTo>
                    <a:cubicBezTo>
                      <a:pt x="65789" y="39892"/>
                      <a:pt x="65789" y="39892"/>
                      <a:pt x="65789" y="39892"/>
                    </a:cubicBezTo>
                    <a:cubicBezTo>
                      <a:pt x="64736" y="37962"/>
                      <a:pt x="64736" y="37962"/>
                      <a:pt x="64736" y="37962"/>
                    </a:cubicBezTo>
                    <a:cubicBezTo>
                      <a:pt x="64210" y="35710"/>
                      <a:pt x="64210" y="35710"/>
                      <a:pt x="64210" y="35710"/>
                    </a:cubicBezTo>
                    <a:cubicBezTo>
                      <a:pt x="62631" y="34101"/>
                      <a:pt x="62631" y="34101"/>
                      <a:pt x="62631" y="34101"/>
                    </a:cubicBezTo>
                    <a:cubicBezTo>
                      <a:pt x="59999" y="32493"/>
                      <a:pt x="59999" y="32493"/>
                      <a:pt x="59999" y="32493"/>
                    </a:cubicBezTo>
                    <a:cubicBezTo>
                      <a:pt x="57368" y="29919"/>
                      <a:pt x="57368" y="29919"/>
                      <a:pt x="57368" y="29919"/>
                    </a:cubicBezTo>
                    <a:cubicBezTo>
                      <a:pt x="56842" y="28310"/>
                      <a:pt x="56842" y="28310"/>
                      <a:pt x="56842" y="28310"/>
                    </a:cubicBezTo>
                    <a:cubicBezTo>
                      <a:pt x="54736" y="26380"/>
                      <a:pt x="54736" y="26380"/>
                      <a:pt x="54736" y="26380"/>
                    </a:cubicBezTo>
                    <a:cubicBezTo>
                      <a:pt x="54736" y="25415"/>
                      <a:pt x="54736" y="25415"/>
                      <a:pt x="54736" y="25415"/>
                    </a:cubicBezTo>
                    <a:cubicBezTo>
                      <a:pt x="53157" y="24450"/>
                      <a:pt x="53157" y="24450"/>
                      <a:pt x="53157" y="24450"/>
                    </a:cubicBezTo>
                    <a:cubicBezTo>
                      <a:pt x="53157" y="23163"/>
                      <a:pt x="53157" y="23163"/>
                      <a:pt x="53157" y="23163"/>
                    </a:cubicBezTo>
                    <a:cubicBezTo>
                      <a:pt x="53157" y="22198"/>
                      <a:pt x="53157" y="22198"/>
                      <a:pt x="53157" y="22198"/>
                    </a:cubicBezTo>
                    <a:cubicBezTo>
                      <a:pt x="52105" y="20589"/>
                      <a:pt x="52105" y="20589"/>
                      <a:pt x="52105" y="20589"/>
                    </a:cubicBezTo>
                    <a:cubicBezTo>
                      <a:pt x="51052" y="19946"/>
                      <a:pt x="51052" y="19946"/>
                      <a:pt x="51052" y="19946"/>
                    </a:cubicBezTo>
                    <a:cubicBezTo>
                      <a:pt x="51052" y="18981"/>
                      <a:pt x="51052" y="18981"/>
                      <a:pt x="51052" y="18981"/>
                    </a:cubicBezTo>
                    <a:cubicBezTo>
                      <a:pt x="51578" y="15442"/>
                      <a:pt x="51578" y="15442"/>
                      <a:pt x="51578" y="15442"/>
                    </a:cubicBezTo>
                    <a:cubicBezTo>
                      <a:pt x="53157" y="11581"/>
                      <a:pt x="53157" y="11581"/>
                      <a:pt x="53157" y="11581"/>
                    </a:cubicBezTo>
                    <a:cubicBezTo>
                      <a:pt x="54736" y="8042"/>
                      <a:pt x="54736" y="8042"/>
                      <a:pt x="54736" y="8042"/>
                    </a:cubicBezTo>
                    <a:cubicBezTo>
                      <a:pt x="55789" y="5790"/>
                      <a:pt x="55789" y="5790"/>
                      <a:pt x="55789" y="5790"/>
                    </a:cubicBezTo>
                    <a:cubicBezTo>
                      <a:pt x="56842" y="2573"/>
                      <a:pt x="56842" y="2573"/>
                      <a:pt x="56842" y="2573"/>
                    </a:cubicBezTo>
                    <a:cubicBezTo>
                      <a:pt x="40000" y="0"/>
                      <a:pt x="40000" y="0"/>
                      <a:pt x="40000" y="0"/>
                    </a:cubicBezTo>
                    <a:cubicBezTo>
                      <a:pt x="40000" y="0"/>
                      <a:pt x="27368" y="36675"/>
                      <a:pt x="24736" y="38605"/>
                    </a:cubicBezTo>
                    <a:cubicBezTo>
                      <a:pt x="22631" y="40857"/>
                      <a:pt x="25263" y="40214"/>
                      <a:pt x="25263" y="42466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95" name="Shape 1401">
                <a:extLst>
                  <a:ext uri="{FF2B5EF4-FFF2-40B4-BE49-F238E27FC236}">
                    <a16:creationId xmlns:a16="http://schemas.microsoft.com/office/drawing/2014/main" id="{FA08001B-D3A6-4B00-8125-5DC7676E4892}"/>
                  </a:ext>
                </a:extLst>
              </p:cNvPr>
              <p:cNvSpPr/>
              <p:nvPr/>
            </p:nvSpPr>
            <p:spPr>
              <a:xfrm>
                <a:off x="5968585" y="1497078"/>
                <a:ext cx="1351825" cy="874219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20000" y="28571"/>
                    </a:moveTo>
                    <a:cubicBezTo>
                      <a:pt x="120000" y="28571"/>
                      <a:pt x="74578" y="20000"/>
                      <a:pt x="56470" y="15714"/>
                    </a:cubicBezTo>
                    <a:cubicBezTo>
                      <a:pt x="34373" y="10476"/>
                      <a:pt x="3375" y="0"/>
                      <a:pt x="3375" y="0"/>
                    </a:cubicBezTo>
                    <a:cubicBezTo>
                      <a:pt x="2762" y="4761"/>
                      <a:pt x="2762" y="4761"/>
                      <a:pt x="2762" y="4761"/>
                    </a:cubicBezTo>
                    <a:cubicBezTo>
                      <a:pt x="2148" y="8095"/>
                      <a:pt x="2148" y="8095"/>
                      <a:pt x="2148" y="8095"/>
                    </a:cubicBezTo>
                    <a:cubicBezTo>
                      <a:pt x="1227" y="13333"/>
                      <a:pt x="1227" y="13333"/>
                      <a:pt x="1227" y="13333"/>
                    </a:cubicBezTo>
                    <a:cubicBezTo>
                      <a:pt x="306" y="19047"/>
                      <a:pt x="306" y="19047"/>
                      <a:pt x="306" y="19047"/>
                    </a:cubicBezTo>
                    <a:cubicBezTo>
                      <a:pt x="0" y="24285"/>
                      <a:pt x="0" y="24285"/>
                      <a:pt x="0" y="24285"/>
                    </a:cubicBezTo>
                    <a:cubicBezTo>
                      <a:pt x="0" y="25714"/>
                      <a:pt x="0" y="25714"/>
                      <a:pt x="0" y="25714"/>
                    </a:cubicBezTo>
                    <a:cubicBezTo>
                      <a:pt x="613" y="26666"/>
                      <a:pt x="613" y="26666"/>
                      <a:pt x="613" y="26666"/>
                    </a:cubicBezTo>
                    <a:cubicBezTo>
                      <a:pt x="1227" y="29047"/>
                      <a:pt x="1227" y="29047"/>
                      <a:pt x="1227" y="29047"/>
                    </a:cubicBezTo>
                    <a:cubicBezTo>
                      <a:pt x="1227" y="30476"/>
                      <a:pt x="1227" y="30476"/>
                      <a:pt x="1227" y="30476"/>
                    </a:cubicBezTo>
                    <a:cubicBezTo>
                      <a:pt x="1227" y="32380"/>
                      <a:pt x="1227" y="32380"/>
                      <a:pt x="1227" y="32380"/>
                    </a:cubicBezTo>
                    <a:cubicBezTo>
                      <a:pt x="2148" y="33809"/>
                      <a:pt x="2148" y="33809"/>
                      <a:pt x="2148" y="33809"/>
                    </a:cubicBezTo>
                    <a:cubicBezTo>
                      <a:pt x="2148" y="35238"/>
                      <a:pt x="2148" y="35238"/>
                      <a:pt x="2148" y="35238"/>
                    </a:cubicBezTo>
                    <a:cubicBezTo>
                      <a:pt x="3375" y="38095"/>
                      <a:pt x="3375" y="38095"/>
                      <a:pt x="3375" y="38095"/>
                    </a:cubicBezTo>
                    <a:cubicBezTo>
                      <a:pt x="3682" y="40476"/>
                      <a:pt x="3682" y="40476"/>
                      <a:pt x="3682" y="40476"/>
                    </a:cubicBezTo>
                    <a:cubicBezTo>
                      <a:pt x="5217" y="44285"/>
                      <a:pt x="5217" y="44285"/>
                      <a:pt x="5217" y="44285"/>
                    </a:cubicBezTo>
                    <a:cubicBezTo>
                      <a:pt x="6751" y="46666"/>
                      <a:pt x="6751" y="46666"/>
                      <a:pt x="6751" y="46666"/>
                    </a:cubicBezTo>
                    <a:cubicBezTo>
                      <a:pt x="7672" y="49047"/>
                      <a:pt x="7672" y="49047"/>
                      <a:pt x="7672" y="49047"/>
                    </a:cubicBezTo>
                    <a:cubicBezTo>
                      <a:pt x="7979" y="52380"/>
                      <a:pt x="7979" y="52380"/>
                      <a:pt x="7979" y="52380"/>
                    </a:cubicBezTo>
                    <a:cubicBezTo>
                      <a:pt x="8593" y="55238"/>
                      <a:pt x="8593" y="55238"/>
                      <a:pt x="8593" y="55238"/>
                    </a:cubicBezTo>
                    <a:cubicBezTo>
                      <a:pt x="9514" y="57142"/>
                      <a:pt x="9514" y="57142"/>
                      <a:pt x="9514" y="57142"/>
                    </a:cubicBezTo>
                    <a:cubicBezTo>
                      <a:pt x="9514" y="57619"/>
                      <a:pt x="9514" y="57619"/>
                      <a:pt x="9514" y="57619"/>
                    </a:cubicBezTo>
                    <a:cubicBezTo>
                      <a:pt x="12276" y="58571"/>
                      <a:pt x="12276" y="58571"/>
                      <a:pt x="12276" y="58571"/>
                    </a:cubicBezTo>
                    <a:cubicBezTo>
                      <a:pt x="12276" y="60476"/>
                      <a:pt x="12276" y="60476"/>
                      <a:pt x="12276" y="60476"/>
                    </a:cubicBezTo>
                    <a:cubicBezTo>
                      <a:pt x="11355" y="63333"/>
                      <a:pt x="11355" y="63333"/>
                      <a:pt x="11355" y="63333"/>
                    </a:cubicBezTo>
                    <a:cubicBezTo>
                      <a:pt x="10434" y="66190"/>
                      <a:pt x="10434" y="66190"/>
                      <a:pt x="10434" y="66190"/>
                    </a:cubicBezTo>
                    <a:cubicBezTo>
                      <a:pt x="9514" y="69523"/>
                      <a:pt x="9514" y="69523"/>
                      <a:pt x="9514" y="69523"/>
                    </a:cubicBezTo>
                    <a:cubicBezTo>
                      <a:pt x="9207" y="72380"/>
                      <a:pt x="9207" y="72380"/>
                      <a:pt x="9207" y="72380"/>
                    </a:cubicBezTo>
                    <a:cubicBezTo>
                      <a:pt x="9820" y="75238"/>
                      <a:pt x="9820" y="75238"/>
                      <a:pt x="9820" y="75238"/>
                    </a:cubicBezTo>
                    <a:cubicBezTo>
                      <a:pt x="9514" y="76190"/>
                      <a:pt x="9514" y="76190"/>
                      <a:pt x="9514" y="76190"/>
                    </a:cubicBezTo>
                    <a:cubicBezTo>
                      <a:pt x="8593" y="76190"/>
                      <a:pt x="8593" y="76190"/>
                      <a:pt x="8593" y="76190"/>
                    </a:cubicBezTo>
                    <a:cubicBezTo>
                      <a:pt x="7672" y="78095"/>
                      <a:pt x="7672" y="78095"/>
                      <a:pt x="7672" y="78095"/>
                    </a:cubicBezTo>
                    <a:cubicBezTo>
                      <a:pt x="6751" y="81428"/>
                      <a:pt x="6751" y="81428"/>
                      <a:pt x="6751" y="81428"/>
                    </a:cubicBezTo>
                    <a:cubicBezTo>
                      <a:pt x="7365" y="82380"/>
                      <a:pt x="7365" y="82380"/>
                      <a:pt x="7365" y="82380"/>
                    </a:cubicBezTo>
                    <a:cubicBezTo>
                      <a:pt x="8593" y="83333"/>
                      <a:pt x="8593" y="83333"/>
                      <a:pt x="8593" y="83333"/>
                    </a:cubicBezTo>
                    <a:cubicBezTo>
                      <a:pt x="8593" y="84761"/>
                      <a:pt x="8593" y="84761"/>
                      <a:pt x="8593" y="84761"/>
                    </a:cubicBezTo>
                    <a:cubicBezTo>
                      <a:pt x="9207" y="84761"/>
                      <a:pt x="9207" y="84761"/>
                      <a:pt x="9207" y="84761"/>
                    </a:cubicBezTo>
                    <a:cubicBezTo>
                      <a:pt x="10127" y="83333"/>
                      <a:pt x="10127" y="83333"/>
                      <a:pt x="10127" y="83333"/>
                    </a:cubicBezTo>
                    <a:cubicBezTo>
                      <a:pt x="11048" y="82857"/>
                      <a:pt x="11048" y="82857"/>
                      <a:pt x="11048" y="82857"/>
                    </a:cubicBezTo>
                    <a:cubicBezTo>
                      <a:pt x="11662" y="82857"/>
                      <a:pt x="11662" y="82857"/>
                      <a:pt x="11662" y="82857"/>
                    </a:cubicBezTo>
                    <a:cubicBezTo>
                      <a:pt x="12890" y="81428"/>
                      <a:pt x="12890" y="81428"/>
                      <a:pt x="12890" y="81428"/>
                    </a:cubicBezTo>
                    <a:cubicBezTo>
                      <a:pt x="13503" y="81428"/>
                      <a:pt x="13503" y="81428"/>
                      <a:pt x="13503" y="81428"/>
                    </a:cubicBezTo>
                    <a:cubicBezTo>
                      <a:pt x="13810" y="83333"/>
                      <a:pt x="13810" y="83333"/>
                      <a:pt x="13810" y="83333"/>
                    </a:cubicBezTo>
                    <a:cubicBezTo>
                      <a:pt x="14424" y="85238"/>
                      <a:pt x="14424" y="85238"/>
                      <a:pt x="14424" y="85238"/>
                    </a:cubicBezTo>
                    <a:cubicBezTo>
                      <a:pt x="14731" y="89047"/>
                      <a:pt x="14731" y="89047"/>
                      <a:pt x="14731" y="89047"/>
                    </a:cubicBezTo>
                    <a:cubicBezTo>
                      <a:pt x="14731" y="91904"/>
                      <a:pt x="14731" y="91904"/>
                      <a:pt x="14731" y="91904"/>
                    </a:cubicBezTo>
                    <a:cubicBezTo>
                      <a:pt x="14731" y="93333"/>
                      <a:pt x="14731" y="93333"/>
                      <a:pt x="14731" y="93333"/>
                    </a:cubicBezTo>
                    <a:cubicBezTo>
                      <a:pt x="15959" y="95238"/>
                      <a:pt x="15959" y="95238"/>
                      <a:pt x="15959" y="95238"/>
                    </a:cubicBezTo>
                    <a:cubicBezTo>
                      <a:pt x="15959" y="97619"/>
                      <a:pt x="15959" y="97619"/>
                      <a:pt x="15959" y="97619"/>
                    </a:cubicBezTo>
                    <a:cubicBezTo>
                      <a:pt x="15959" y="100000"/>
                      <a:pt x="15959" y="100000"/>
                      <a:pt x="15959" y="100000"/>
                    </a:cubicBezTo>
                    <a:cubicBezTo>
                      <a:pt x="15959" y="100952"/>
                      <a:pt x="15959" y="100952"/>
                      <a:pt x="15959" y="100952"/>
                    </a:cubicBezTo>
                    <a:cubicBezTo>
                      <a:pt x="16572" y="102380"/>
                      <a:pt x="16572" y="102380"/>
                      <a:pt x="16572" y="102380"/>
                    </a:cubicBezTo>
                    <a:cubicBezTo>
                      <a:pt x="18107" y="103809"/>
                      <a:pt x="18107" y="103809"/>
                      <a:pt x="18107" y="103809"/>
                    </a:cubicBezTo>
                    <a:cubicBezTo>
                      <a:pt x="19335" y="103809"/>
                      <a:pt x="19335" y="103809"/>
                      <a:pt x="19335" y="103809"/>
                    </a:cubicBezTo>
                    <a:cubicBezTo>
                      <a:pt x="19335" y="106666"/>
                      <a:pt x="19335" y="106666"/>
                      <a:pt x="19335" y="106666"/>
                    </a:cubicBezTo>
                    <a:cubicBezTo>
                      <a:pt x="19948" y="109523"/>
                      <a:pt x="19948" y="109523"/>
                      <a:pt x="19948" y="109523"/>
                    </a:cubicBezTo>
                    <a:cubicBezTo>
                      <a:pt x="19948" y="111428"/>
                      <a:pt x="19948" y="111428"/>
                      <a:pt x="19948" y="111428"/>
                    </a:cubicBezTo>
                    <a:cubicBezTo>
                      <a:pt x="19948" y="112857"/>
                      <a:pt x="19948" y="112857"/>
                      <a:pt x="19948" y="112857"/>
                    </a:cubicBezTo>
                    <a:cubicBezTo>
                      <a:pt x="20562" y="114761"/>
                      <a:pt x="20562" y="114761"/>
                      <a:pt x="20562" y="114761"/>
                    </a:cubicBezTo>
                    <a:cubicBezTo>
                      <a:pt x="21790" y="114761"/>
                      <a:pt x="21790" y="114761"/>
                      <a:pt x="21790" y="114761"/>
                    </a:cubicBezTo>
                    <a:cubicBezTo>
                      <a:pt x="21790" y="113809"/>
                      <a:pt x="21790" y="113809"/>
                      <a:pt x="21790" y="113809"/>
                    </a:cubicBezTo>
                    <a:cubicBezTo>
                      <a:pt x="22097" y="112380"/>
                      <a:pt x="22097" y="112380"/>
                      <a:pt x="22097" y="112380"/>
                    </a:cubicBezTo>
                    <a:cubicBezTo>
                      <a:pt x="22710" y="112380"/>
                      <a:pt x="22710" y="112380"/>
                      <a:pt x="22710" y="112380"/>
                    </a:cubicBezTo>
                    <a:cubicBezTo>
                      <a:pt x="23631" y="112380"/>
                      <a:pt x="23631" y="112380"/>
                      <a:pt x="23631" y="112380"/>
                    </a:cubicBezTo>
                    <a:cubicBezTo>
                      <a:pt x="25166" y="113809"/>
                      <a:pt x="25166" y="113809"/>
                      <a:pt x="25166" y="113809"/>
                    </a:cubicBezTo>
                    <a:cubicBezTo>
                      <a:pt x="26700" y="114761"/>
                      <a:pt x="26700" y="114761"/>
                      <a:pt x="26700" y="114761"/>
                    </a:cubicBezTo>
                    <a:cubicBezTo>
                      <a:pt x="26700" y="113809"/>
                      <a:pt x="26700" y="113809"/>
                      <a:pt x="26700" y="113809"/>
                    </a:cubicBezTo>
                    <a:cubicBezTo>
                      <a:pt x="27007" y="112857"/>
                      <a:pt x="27007" y="112857"/>
                      <a:pt x="27007" y="112857"/>
                    </a:cubicBezTo>
                    <a:cubicBezTo>
                      <a:pt x="28235" y="112857"/>
                      <a:pt x="28235" y="112857"/>
                      <a:pt x="28235" y="112857"/>
                    </a:cubicBezTo>
                    <a:cubicBezTo>
                      <a:pt x="30690" y="113333"/>
                      <a:pt x="30690" y="113333"/>
                      <a:pt x="30690" y="113333"/>
                    </a:cubicBezTo>
                    <a:cubicBezTo>
                      <a:pt x="32225" y="114285"/>
                      <a:pt x="32225" y="114285"/>
                      <a:pt x="32225" y="114285"/>
                    </a:cubicBezTo>
                    <a:cubicBezTo>
                      <a:pt x="35294" y="114761"/>
                      <a:pt x="35294" y="114761"/>
                      <a:pt x="35294" y="114761"/>
                    </a:cubicBezTo>
                    <a:cubicBezTo>
                      <a:pt x="35601" y="113333"/>
                      <a:pt x="35601" y="113333"/>
                      <a:pt x="35601" y="113333"/>
                    </a:cubicBezTo>
                    <a:cubicBezTo>
                      <a:pt x="35907" y="110952"/>
                      <a:pt x="35907" y="110952"/>
                      <a:pt x="35907" y="110952"/>
                    </a:cubicBezTo>
                    <a:cubicBezTo>
                      <a:pt x="37135" y="110952"/>
                      <a:pt x="37135" y="110952"/>
                      <a:pt x="37135" y="110952"/>
                    </a:cubicBezTo>
                    <a:cubicBezTo>
                      <a:pt x="38056" y="112380"/>
                      <a:pt x="38056" y="112380"/>
                      <a:pt x="38056" y="112380"/>
                    </a:cubicBezTo>
                    <a:cubicBezTo>
                      <a:pt x="38670" y="113809"/>
                      <a:pt x="38670" y="113809"/>
                      <a:pt x="38670" y="113809"/>
                    </a:cubicBezTo>
                    <a:cubicBezTo>
                      <a:pt x="38976" y="115714"/>
                      <a:pt x="38976" y="115714"/>
                      <a:pt x="38976" y="115714"/>
                    </a:cubicBezTo>
                    <a:cubicBezTo>
                      <a:pt x="38976" y="116190"/>
                      <a:pt x="38976" y="116190"/>
                      <a:pt x="38976" y="116190"/>
                    </a:cubicBezTo>
                    <a:cubicBezTo>
                      <a:pt x="39590" y="117142"/>
                      <a:pt x="39590" y="117142"/>
                      <a:pt x="39590" y="117142"/>
                    </a:cubicBezTo>
                    <a:cubicBezTo>
                      <a:pt x="40204" y="118095"/>
                      <a:pt x="40204" y="118095"/>
                      <a:pt x="40204" y="118095"/>
                    </a:cubicBezTo>
                    <a:cubicBezTo>
                      <a:pt x="41739" y="105238"/>
                      <a:pt x="41739" y="105238"/>
                      <a:pt x="41739" y="105238"/>
                    </a:cubicBezTo>
                    <a:cubicBezTo>
                      <a:pt x="114168" y="120000"/>
                      <a:pt x="114168" y="120000"/>
                      <a:pt x="114168" y="120000"/>
                    </a:cubicBezTo>
                    <a:cubicBezTo>
                      <a:pt x="114475" y="120000"/>
                      <a:pt x="114475" y="120000"/>
                      <a:pt x="114475" y="120000"/>
                    </a:cubicBezTo>
                    <a:cubicBezTo>
                      <a:pt x="115703" y="98571"/>
                      <a:pt x="115703" y="98571"/>
                      <a:pt x="115703" y="98571"/>
                    </a:cubicBezTo>
                    <a:lnTo>
                      <a:pt x="120000" y="28571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96" name="Shape 1402">
                <a:extLst>
                  <a:ext uri="{FF2B5EF4-FFF2-40B4-BE49-F238E27FC236}">
                    <a16:creationId xmlns:a16="http://schemas.microsoft.com/office/drawing/2014/main" id="{9C8FC3FB-4D07-438F-AA34-56123D9F5D4A}"/>
                  </a:ext>
                </a:extLst>
              </p:cNvPr>
              <p:cNvSpPr/>
              <p:nvPr/>
            </p:nvSpPr>
            <p:spPr>
              <a:xfrm>
                <a:off x="11106347" y="1603290"/>
                <a:ext cx="477837" cy="763918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33846" y="120000"/>
                    </a:moveTo>
                    <a:lnTo>
                      <a:pt x="33846" y="118716"/>
                    </a:lnTo>
                    <a:lnTo>
                      <a:pt x="34871" y="116791"/>
                    </a:lnTo>
                    <a:lnTo>
                      <a:pt x="34871" y="116149"/>
                    </a:lnTo>
                    <a:lnTo>
                      <a:pt x="34871" y="114224"/>
                    </a:lnTo>
                    <a:lnTo>
                      <a:pt x="34871" y="112941"/>
                    </a:lnTo>
                    <a:lnTo>
                      <a:pt x="35897" y="111657"/>
                    </a:lnTo>
                    <a:lnTo>
                      <a:pt x="37948" y="111657"/>
                    </a:lnTo>
                    <a:lnTo>
                      <a:pt x="37948" y="109732"/>
                    </a:lnTo>
                    <a:lnTo>
                      <a:pt x="38974" y="108449"/>
                    </a:lnTo>
                    <a:lnTo>
                      <a:pt x="38974" y="106524"/>
                    </a:lnTo>
                    <a:lnTo>
                      <a:pt x="41025" y="106524"/>
                    </a:lnTo>
                    <a:lnTo>
                      <a:pt x="42051" y="106524"/>
                    </a:lnTo>
                    <a:lnTo>
                      <a:pt x="45128" y="106524"/>
                    </a:lnTo>
                    <a:lnTo>
                      <a:pt x="45128" y="103315"/>
                    </a:lnTo>
                    <a:lnTo>
                      <a:pt x="42051" y="103315"/>
                    </a:lnTo>
                    <a:lnTo>
                      <a:pt x="41025" y="103315"/>
                    </a:lnTo>
                    <a:lnTo>
                      <a:pt x="41025" y="102032"/>
                    </a:lnTo>
                    <a:lnTo>
                      <a:pt x="41025" y="101390"/>
                    </a:lnTo>
                    <a:lnTo>
                      <a:pt x="43076" y="100106"/>
                    </a:lnTo>
                    <a:lnTo>
                      <a:pt x="43076" y="99465"/>
                    </a:lnTo>
                    <a:lnTo>
                      <a:pt x="45128" y="98181"/>
                    </a:lnTo>
                    <a:lnTo>
                      <a:pt x="46153" y="98823"/>
                    </a:lnTo>
                    <a:lnTo>
                      <a:pt x="46153" y="99465"/>
                    </a:lnTo>
                    <a:lnTo>
                      <a:pt x="48205" y="98823"/>
                    </a:lnTo>
                    <a:lnTo>
                      <a:pt x="49230" y="98181"/>
                    </a:lnTo>
                    <a:lnTo>
                      <a:pt x="49230" y="96256"/>
                    </a:lnTo>
                    <a:lnTo>
                      <a:pt x="51282" y="97540"/>
                    </a:lnTo>
                    <a:lnTo>
                      <a:pt x="52307" y="98181"/>
                    </a:lnTo>
                    <a:lnTo>
                      <a:pt x="53333" y="98181"/>
                    </a:lnTo>
                    <a:lnTo>
                      <a:pt x="53333" y="96256"/>
                    </a:lnTo>
                    <a:lnTo>
                      <a:pt x="53333" y="95614"/>
                    </a:lnTo>
                    <a:lnTo>
                      <a:pt x="52307" y="95614"/>
                    </a:lnTo>
                    <a:lnTo>
                      <a:pt x="51282" y="94331"/>
                    </a:lnTo>
                    <a:lnTo>
                      <a:pt x="55384" y="94331"/>
                    </a:lnTo>
                    <a:lnTo>
                      <a:pt x="57435" y="94973"/>
                    </a:lnTo>
                    <a:lnTo>
                      <a:pt x="60512" y="94331"/>
                    </a:lnTo>
                    <a:lnTo>
                      <a:pt x="61538" y="92406"/>
                    </a:lnTo>
                    <a:lnTo>
                      <a:pt x="60512" y="89197"/>
                    </a:lnTo>
                    <a:lnTo>
                      <a:pt x="62564" y="89197"/>
                    </a:lnTo>
                    <a:lnTo>
                      <a:pt x="65641" y="91122"/>
                    </a:lnTo>
                    <a:lnTo>
                      <a:pt x="68717" y="90481"/>
                    </a:lnTo>
                    <a:lnTo>
                      <a:pt x="69743" y="89197"/>
                    </a:lnTo>
                    <a:lnTo>
                      <a:pt x="70769" y="86631"/>
                    </a:lnTo>
                    <a:lnTo>
                      <a:pt x="69743" y="84705"/>
                    </a:lnTo>
                    <a:lnTo>
                      <a:pt x="70769" y="82139"/>
                    </a:lnTo>
                    <a:lnTo>
                      <a:pt x="70769" y="80855"/>
                    </a:lnTo>
                    <a:lnTo>
                      <a:pt x="69743" y="78930"/>
                    </a:lnTo>
                    <a:lnTo>
                      <a:pt x="69743" y="77647"/>
                    </a:lnTo>
                    <a:lnTo>
                      <a:pt x="70769" y="75721"/>
                    </a:lnTo>
                    <a:lnTo>
                      <a:pt x="70769" y="74438"/>
                    </a:lnTo>
                    <a:lnTo>
                      <a:pt x="74871" y="77005"/>
                    </a:lnTo>
                    <a:lnTo>
                      <a:pt x="75897" y="78288"/>
                    </a:lnTo>
                    <a:lnTo>
                      <a:pt x="81025" y="78288"/>
                    </a:lnTo>
                    <a:lnTo>
                      <a:pt x="81025" y="77005"/>
                    </a:lnTo>
                    <a:lnTo>
                      <a:pt x="81025" y="74438"/>
                    </a:lnTo>
                    <a:lnTo>
                      <a:pt x="83076" y="73796"/>
                    </a:lnTo>
                    <a:lnTo>
                      <a:pt x="86153" y="74438"/>
                    </a:lnTo>
                    <a:lnTo>
                      <a:pt x="86153" y="75721"/>
                    </a:lnTo>
                    <a:lnTo>
                      <a:pt x="86153" y="78288"/>
                    </a:lnTo>
                    <a:lnTo>
                      <a:pt x="89230" y="77647"/>
                    </a:lnTo>
                    <a:lnTo>
                      <a:pt x="92307" y="75721"/>
                    </a:lnTo>
                    <a:lnTo>
                      <a:pt x="90256" y="74438"/>
                    </a:lnTo>
                    <a:lnTo>
                      <a:pt x="88205" y="73155"/>
                    </a:lnTo>
                    <a:lnTo>
                      <a:pt x="88205" y="71871"/>
                    </a:lnTo>
                    <a:lnTo>
                      <a:pt x="89230" y="71229"/>
                    </a:lnTo>
                    <a:lnTo>
                      <a:pt x="92307" y="73155"/>
                    </a:lnTo>
                    <a:lnTo>
                      <a:pt x="95384" y="74438"/>
                    </a:lnTo>
                    <a:lnTo>
                      <a:pt x="97435" y="73796"/>
                    </a:lnTo>
                    <a:lnTo>
                      <a:pt x="96410" y="71229"/>
                    </a:lnTo>
                    <a:lnTo>
                      <a:pt x="97435" y="71229"/>
                    </a:lnTo>
                    <a:lnTo>
                      <a:pt x="99487" y="71229"/>
                    </a:lnTo>
                    <a:lnTo>
                      <a:pt x="99487" y="67379"/>
                    </a:lnTo>
                    <a:lnTo>
                      <a:pt x="103589" y="67379"/>
                    </a:lnTo>
                    <a:lnTo>
                      <a:pt x="105641" y="67379"/>
                    </a:lnTo>
                    <a:lnTo>
                      <a:pt x="106666" y="66737"/>
                    </a:lnTo>
                    <a:lnTo>
                      <a:pt x="106666" y="64812"/>
                    </a:lnTo>
                    <a:lnTo>
                      <a:pt x="108717" y="64812"/>
                    </a:lnTo>
                    <a:lnTo>
                      <a:pt x="109743" y="64171"/>
                    </a:lnTo>
                    <a:lnTo>
                      <a:pt x="112820" y="62245"/>
                    </a:lnTo>
                    <a:lnTo>
                      <a:pt x="116923" y="62245"/>
                    </a:lnTo>
                    <a:lnTo>
                      <a:pt x="118974" y="60962"/>
                    </a:lnTo>
                    <a:lnTo>
                      <a:pt x="120000" y="57112"/>
                    </a:lnTo>
                    <a:lnTo>
                      <a:pt x="118974" y="56470"/>
                    </a:lnTo>
                    <a:lnTo>
                      <a:pt x="117948" y="56470"/>
                    </a:lnTo>
                    <a:lnTo>
                      <a:pt x="115897" y="56470"/>
                    </a:lnTo>
                    <a:lnTo>
                      <a:pt x="114871" y="55187"/>
                    </a:lnTo>
                    <a:lnTo>
                      <a:pt x="116923" y="53903"/>
                    </a:lnTo>
                    <a:lnTo>
                      <a:pt x="116923" y="53262"/>
                    </a:lnTo>
                    <a:lnTo>
                      <a:pt x="114871" y="52620"/>
                    </a:lnTo>
                    <a:lnTo>
                      <a:pt x="112820" y="49411"/>
                    </a:lnTo>
                    <a:lnTo>
                      <a:pt x="108717" y="49411"/>
                    </a:lnTo>
                    <a:lnTo>
                      <a:pt x="106666" y="49411"/>
                    </a:lnTo>
                    <a:lnTo>
                      <a:pt x="104615" y="46844"/>
                    </a:lnTo>
                    <a:lnTo>
                      <a:pt x="103589" y="43636"/>
                    </a:lnTo>
                    <a:lnTo>
                      <a:pt x="103589" y="41069"/>
                    </a:lnTo>
                    <a:lnTo>
                      <a:pt x="102564" y="39144"/>
                    </a:lnTo>
                    <a:lnTo>
                      <a:pt x="99487" y="39786"/>
                    </a:lnTo>
                    <a:lnTo>
                      <a:pt x="97435" y="40427"/>
                    </a:lnTo>
                    <a:lnTo>
                      <a:pt x="93333" y="40427"/>
                    </a:lnTo>
                    <a:lnTo>
                      <a:pt x="89230" y="39144"/>
                    </a:lnTo>
                    <a:lnTo>
                      <a:pt x="86153" y="35935"/>
                    </a:lnTo>
                    <a:lnTo>
                      <a:pt x="85128" y="31443"/>
                    </a:lnTo>
                    <a:lnTo>
                      <a:pt x="81025" y="25668"/>
                    </a:lnTo>
                    <a:lnTo>
                      <a:pt x="78974" y="19893"/>
                    </a:lnTo>
                    <a:lnTo>
                      <a:pt x="76923" y="16684"/>
                    </a:lnTo>
                    <a:lnTo>
                      <a:pt x="74871" y="11550"/>
                    </a:lnTo>
                    <a:lnTo>
                      <a:pt x="72820" y="7058"/>
                    </a:lnTo>
                    <a:lnTo>
                      <a:pt x="70769" y="5133"/>
                    </a:lnTo>
                    <a:lnTo>
                      <a:pt x="57435" y="0"/>
                    </a:lnTo>
                    <a:lnTo>
                      <a:pt x="54358" y="1925"/>
                    </a:lnTo>
                    <a:lnTo>
                      <a:pt x="51282" y="4491"/>
                    </a:lnTo>
                    <a:lnTo>
                      <a:pt x="46153" y="7058"/>
                    </a:lnTo>
                    <a:lnTo>
                      <a:pt x="43076" y="7058"/>
                    </a:lnTo>
                    <a:lnTo>
                      <a:pt x="40000" y="5775"/>
                    </a:lnTo>
                    <a:lnTo>
                      <a:pt x="34871" y="3850"/>
                    </a:lnTo>
                    <a:lnTo>
                      <a:pt x="30769" y="3208"/>
                    </a:lnTo>
                    <a:lnTo>
                      <a:pt x="29743" y="3208"/>
                    </a:lnTo>
                    <a:lnTo>
                      <a:pt x="27692" y="4491"/>
                    </a:lnTo>
                    <a:lnTo>
                      <a:pt x="22564" y="14117"/>
                    </a:lnTo>
                    <a:lnTo>
                      <a:pt x="20512" y="21176"/>
                    </a:lnTo>
                    <a:lnTo>
                      <a:pt x="15384" y="28877"/>
                    </a:lnTo>
                    <a:lnTo>
                      <a:pt x="13333" y="34652"/>
                    </a:lnTo>
                    <a:lnTo>
                      <a:pt x="12307" y="41069"/>
                    </a:lnTo>
                    <a:lnTo>
                      <a:pt x="13333" y="44278"/>
                    </a:lnTo>
                    <a:lnTo>
                      <a:pt x="15384" y="45561"/>
                    </a:lnTo>
                    <a:lnTo>
                      <a:pt x="14358" y="46844"/>
                    </a:lnTo>
                    <a:lnTo>
                      <a:pt x="12307" y="48770"/>
                    </a:lnTo>
                    <a:lnTo>
                      <a:pt x="12307" y="52620"/>
                    </a:lnTo>
                    <a:lnTo>
                      <a:pt x="10256" y="55828"/>
                    </a:lnTo>
                    <a:lnTo>
                      <a:pt x="10256" y="60320"/>
                    </a:lnTo>
                    <a:lnTo>
                      <a:pt x="7179" y="60962"/>
                    </a:lnTo>
                    <a:lnTo>
                      <a:pt x="7179" y="64171"/>
                    </a:lnTo>
                    <a:lnTo>
                      <a:pt x="1025" y="64171"/>
                    </a:lnTo>
                    <a:lnTo>
                      <a:pt x="0" y="66096"/>
                    </a:lnTo>
                    <a:lnTo>
                      <a:pt x="23589" y="114224"/>
                    </a:lnTo>
                    <a:lnTo>
                      <a:pt x="33846" y="12000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97" name="Shape 1403">
                <a:extLst>
                  <a:ext uri="{FF2B5EF4-FFF2-40B4-BE49-F238E27FC236}">
                    <a16:creationId xmlns:a16="http://schemas.microsoft.com/office/drawing/2014/main" id="{9046AD83-D8B8-4741-9DE5-84DABBAF383F}"/>
                  </a:ext>
                </a:extLst>
              </p:cNvPr>
              <p:cNvSpPr/>
              <p:nvPr/>
            </p:nvSpPr>
            <p:spPr>
              <a:xfrm>
                <a:off x="10187432" y="2126188"/>
                <a:ext cx="988343" cy="727152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0" y="98426"/>
                    </a:moveTo>
                    <a:lnTo>
                      <a:pt x="4958" y="91685"/>
                    </a:lnTo>
                    <a:lnTo>
                      <a:pt x="5950" y="89662"/>
                    </a:lnTo>
                    <a:lnTo>
                      <a:pt x="7933" y="86966"/>
                    </a:lnTo>
                    <a:lnTo>
                      <a:pt x="8925" y="85617"/>
                    </a:lnTo>
                    <a:lnTo>
                      <a:pt x="10909" y="83595"/>
                    </a:lnTo>
                    <a:lnTo>
                      <a:pt x="10909" y="81573"/>
                    </a:lnTo>
                    <a:lnTo>
                      <a:pt x="10909" y="80224"/>
                    </a:lnTo>
                    <a:lnTo>
                      <a:pt x="8429" y="73483"/>
                    </a:lnTo>
                    <a:lnTo>
                      <a:pt x="6942" y="68764"/>
                    </a:lnTo>
                    <a:lnTo>
                      <a:pt x="8925" y="66741"/>
                    </a:lnTo>
                    <a:lnTo>
                      <a:pt x="15371" y="64719"/>
                    </a:lnTo>
                    <a:lnTo>
                      <a:pt x="18842" y="64719"/>
                    </a:lnTo>
                    <a:lnTo>
                      <a:pt x="23305" y="64719"/>
                    </a:lnTo>
                    <a:lnTo>
                      <a:pt x="26280" y="64719"/>
                    </a:lnTo>
                    <a:lnTo>
                      <a:pt x="27768" y="64719"/>
                    </a:lnTo>
                    <a:lnTo>
                      <a:pt x="31239" y="62696"/>
                    </a:lnTo>
                    <a:lnTo>
                      <a:pt x="33223" y="62696"/>
                    </a:lnTo>
                    <a:lnTo>
                      <a:pt x="38181" y="60674"/>
                    </a:lnTo>
                    <a:lnTo>
                      <a:pt x="41157" y="55955"/>
                    </a:lnTo>
                    <a:lnTo>
                      <a:pt x="44132" y="53932"/>
                    </a:lnTo>
                    <a:lnTo>
                      <a:pt x="46115" y="51910"/>
                    </a:lnTo>
                    <a:lnTo>
                      <a:pt x="46115" y="50561"/>
                    </a:lnTo>
                    <a:lnTo>
                      <a:pt x="46115" y="47865"/>
                    </a:lnTo>
                    <a:lnTo>
                      <a:pt x="44132" y="44494"/>
                    </a:lnTo>
                    <a:lnTo>
                      <a:pt x="46115" y="42471"/>
                    </a:lnTo>
                    <a:lnTo>
                      <a:pt x="46611" y="39775"/>
                    </a:lnTo>
                    <a:lnTo>
                      <a:pt x="44132" y="41123"/>
                    </a:lnTo>
                    <a:lnTo>
                      <a:pt x="43140" y="39775"/>
                    </a:lnTo>
                    <a:lnTo>
                      <a:pt x="42148" y="37078"/>
                    </a:lnTo>
                    <a:lnTo>
                      <a:pt x="44628" y="34382"/>
                    </a:lnTo>
                    <a:lnTo>
                      <a:pt x="48595" y="29662"/>
                    </a:lnTo>
                    <a:lnTo>
                      <a:pt x="50082" y="25617"/>
                    </a:lnTo>
                    <a:lnTo>
                      <a:pt x="50578" y="22247"/>
                    </a:lnTo>
                    <a:lnTo>
                      <a:pt x="54545" y="15505"/>
                    </a:lnTo>
                    <a:lnTo>
                      <a:pt x="57520" y="10112"/>
                    </a:lnTo>
                    <a:lnTo>
                      <a:pt x="60991" y="6741"/>
                    </a:lnTo>
                    <a:lnTo>
                      <a:pt x="64462" y="5393"/>
                    </a:lnTo>
                    <a:lnTo>
                      <a:pt x="69917" y="3370"/>
                    </a:lnTo>
                    <a:lnTo>
                      <a:pt x="72892" y="1348"/>
                    </a:lnTo>
                    <a:lnTo>
                      <a:pt x="80826" y="0"/>
                    </a:lnTo>
                    <a:lnTo>
                      <a:pt x="80826" y="3370"/>
                    </a:lnTo>
                    <a:lnTo>
                      <a:pt x="80826" y="7415"/>
                    </a:lnTo>
                    <a:lnTo>
                      <a:pt x="81818" y="10786"/>
                    </a:lnTo>
                    <a:lnTo>
                      <a:pt x="83305" y="15505"/>
                    </a:lnTo>
                    <a:lnTo>
                      <a:pt x="84793" y="16179"/>
                    </a:lnTo>
                    <a:lnTo>
                      <a:pt x="86280" y="21573"/>
                    </a:lnTo>
                    <a:lnTo>
                      <a:pt x="84793" y="22921"/>
                    </a:lnTo>
                    <a:lnTo>
                      <a:pt x="84297" y="27640"/>
                    </a:lnTo>
                    <a:lnTo>
                      <a:pt x="86280" y="32359"/>
                    </a:lnTo>
                    <a:lnTo>
                      <a:pt x="87768" y="37752"/>
                    </a:lnTo>
                    <a:lnTo>
                      <a:pt x="89752" y="39775"/>
                    </a:lnTo>
                    <a:lnTo>
                      <a:pt x="90247" y="47191"/>
                    </a:lnTo>
                    <a:lnTo>
                      <a:pt x="91239" y="53258"/>
                    </a:lnTo>
                    <a:lnTo>
                      <a:pt x="93223" y="59325"/>
                    </a:lnTo>
                    <a:lnTo>
                      <a:pt x="93223" y="60000"/>
                    </a:lnTo>
                    <a:lnTo>
                      <a:pt x="93223" y="68764"/>
                    </a:lnTo>
                    <a:lnTo>
                      <a:pt x="93223" y="80898"/>
                    </a:lnTo>
                    <a:lnTo>
                      <a:pt x="95206" y="93707"/>
                    </a:lnTo>
                    <a:lnTo>
                      <a:pt x="95206" y="98426"/>
                    </a:lnTo>
                    <a:lnTo>
                      <a:pt x="97190" y="102471"/>
                    </a:lnTo>
                    <a:lnTo>
                      <a:pt x="95206" y="106516"/>
                    </a:lnTo>
                    <a:lnTo>
                      <a:pt x="95702" y="108539"/>
                    </a:lnTo>
                    <a:lnTo>
                      <a:pt x="92231" y="115280"/>
                    </a:lnTo>
                    <a:lnTo>
                      <a:pt x="95702" y="113258"/>
                    </a:lnTo>
                    <a:lnTo>
                      <a:pt x="98181" y="111910"/>
                    </a:lnTo>
                    <a:lnTo>
                      <a:pt x="101157" y="109213"/>
                    </a:lnTo>
                    <a:lnTo>
                      <a:pt x="102148" y="107865"/>
                    </a:lnTo>
                    <a:lnTo>
                      <a:pt x="105123" y="107191"/>
                    </a:lnTo>
                    <a:lnTo>
                      <a:pt x="107603" y="106516"/>
                    </a:lnTo>
                    <a:lnTo>
                      <a:pt x="108595" y="105168"/>
                    </a:lnTo>
                    <a:lnTo>
                      <a:pt x="111570" y="103146"/>
                    </a:lnTo>
                    <a:lnTo>
                      <a:pt x="114049" y="99101"/>
                    </a:lnTo>
                    <a:lnTo>
                      <a:pt x="111570" y="105842"/>
                    </a:lnTo>
                    <a:lnTo>
                      <a:pt x="114049" y="104494"/>
                    </a:lnTo>
                    <a:lnTo>
                      <a:pt x="115537" y="101797"/>
                    </a:lnTo>
                    <a:lnTo>
                      <a:pt x="117024" y="101123"/>
                    </a:lnTo>
                    <a:lnTo>
                      <a:pt x="119008" y="100449"/>
                    </a:lnTo>
                    <a:lnTo>
                      <a:pt x="120000" y="100449"/>
                    </a:lnTo>
                    <a:lnTo>
                      <a:pt x="115537" y="105842"/>
                    </a:lnTo>
                    <a:lnTo>
                      <a:pt x="111570" y="109887"/>
                    </a:lnTo>
                    <a:lnTo>
                      <a:pt x="108595" y="111910"/>
                    </a:lnTo>
                    <a:lnTo>
                      <a:pt x="106115" y="115280"/>
                    </a:lnTo>
                    <a:lnTo>
                      <a:pt x="102148" y="116629"/>
                    </a:lnTo>
                    <a:lnTo>
                      <a:pt x="97685" y="118651"/>
                    </a:lnTo>
                    <a:lnTo>
                      <a:pt x="93719" y="120000"/>
                    </a:lnTo>
                    <a:lnTo>
                      <a:pt x="91239" y="117977"/>
                    </a:lnTo>
                    <a:lnTo>
                      <a:pt x="90247" y="115280"/>
                    </a:lnTo>
                    <a:lnTo>
                      <a:pt x="90247" y="112584"/>
                    </a:lnTo>
                    <a:lnTo>
                      <a:pt x="89256" y="111235"/>
                    </a:lnTo>
                    <a:lnTo>
                      <a:pt x="82809" y="108539"/>
                    </a:lnTo>
                    <a:lnTo>
                      <a:pt x="76859" y="106516"/>
                    </a:lnTo>
                    <a:lnTo>
                      <a:pt x="77851" y="103146"/>
                    </a:lnTo>
                    <a:lnTo>
                      <a:pt x="76363" y="101797"/>
                    </a:lnTo>
                    <a:lnTo>
                      <a:pt x="74876" y="101797"/>
                    </a:lnTo>
                    <a:lnTo>
                      <a:pt x="73388" y="101123"/>
                    </a:lnTo>
                    <a:lnTo>
                      <a:pt x="71404" y="96404"/>
                    </a:lnTo>
                    <a:lnTo>
                      <a:pt x="69421" y="93033"/>
                    </a:lnTo>
                    <a:lnTo>
                      <a:pt x="65454" y="89662"/>
                    </a:lnTo>
                    <a:lnTo>
                      <a:pt x="991" y="105168"/>
                    </a:lnTo>
                    <a:lnTo>
                      <a:pt x="0" y="98426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98" name="Shape 1404">
                <a:extLst>
                  <a:ext uri="{FF2B5EF4-FFF2-40B4-BE49-F238E27FC236}">
                    <a16:creationId xmlns:a16="http://schemas.microsoft.com/office/drawing/2014/main" id="{F1D1C30B-8FCD-43CE-AC1B-5CB901BA6F6D}"/>
                  </a:ext>
                </a:extLst>
              </p:cNvPr>
              <p:cNvSpPr/>
              <p:nvPr/>
            </p:nvSpPr>
            <p:spPr>
              <a:xfrm>
                <a:off x="10853133" y="2077167"/>
                <a:ext cx="228709" cy="412599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0" y="27326"/>
                    </a:moveTo>
                    <a:lnTo>
                      <a:pt x="4285" y="33267"/>
                    </a:lnTo>
                    <a:lnTo>
                      <a:pt x="10714" y="41584"/>
                    </a:lnTo>
                    <a:lnTo>
                      <a:pt x="17142" y="42772"/>
                    </a:lnTo>
                    <a:lnTo>
                      <a:pt x="23571" y="52277"/>
                    </a:lnTo>
                    <a:lnTo>
                      <a:pt x="17142" y="54653"/>
                    </a:lnTo>
                    <a:lnTo>
                      <a:pt x="14999" y="62970"/>
                    </a:lnTo>
                    <a:lnTo>
                      <a:pt x="23571" y="71287"/>
                    </a:lnTo>
                    <a:lnTo>
                      <a:pt x="29999" y="80792"/>
                    </a:lnTo>
                    <a:lnTo>
                      <a:pt x="38571" y="84356"/>
                    </a:lnTo>
                    <a:lnTo>
                      <a:pt x="40714" y="97425"/>
                    </a:lnTo>
                    <a:lnTo>
                      <a:pt x="44999" y="108118"/>
                    </a:lnTo>
                    <a:lnTo>
                      <a:pt x="53571" y="118811"/>
                    </a:lnTo>
                    <a:lnTo>
                      <a:pt x="53571" y="120000"/>
                    </a:lnTo>
                    <a:lnTo>
                      <a:pt x="100714" y="116435"/>
                    </a:lnTo>
                    <a:lnTo>
                      <a:pt x="96428" y="108118"/>
                    </a:lnTo>
                    <a:lnTo>
                      <a:pt x="98571" y="97425"/>
                    </a:lnTo>
                    <a:lnTo>
                      <a:pt x="96428" y="84356"/>
                    </a:lnTo>
                    <a:lnTo>
                      <a:pt x="94285" y="71287"/>
                    </a:lnTo>
                    <a:lnTo>
                      <a:pt x="100714" y="53465"/>
                    </a:lnTo>
                    <a:lnTo>
                      <a:pt x="100714" y="38019"/>
                    </a:lnTo>
                    <a:lnTo>
                      <a:pt x="119999" y="29702"/>
                    </a:lnTo>
                    <a:lnTo>
                      <a:pt x="119999" y="24950"/>
                    </a:lnTo>
                    <a:lnTo>
                      <a:pt x="113571" y="20198"/>
                    </a:lnTo>
                    <a:lnTo>
                      <a:pt x="113571" y="14257"/>
                    </a:lnTo>
                    <a:lnTo>
                      <a:pt x="113571" y="4752"/>
                    </a:lnTo>
                    <a:lnTo>
                      <a:pt x="107142" y="0"/>
                    </a:lnTo>
                    <a:lnTo>
                      <a:pt x="92142" y="2376"/>
                    </a:lnTo>
                    <a:lnTo>
                      <a:pt x="77142" y="4752"/>
                    </a:lnTo>
                    <a:lnTo>
                      <a:pt x="47142" y="7128"/>
                    </a:lnTo>
                    <a:lnTo>
                      <a:pt x="32142" y="9504"/>
                    </a:lnTo>
                    <a:lnTo>
                      <a:pt x="10714" y="14257"/>
                    </a:lnTo>
                    <a:lnTo>
                      <a:pt x="0" y="14257"/>
                    </a:lnTo>
                    <a:lnTo>
                      <a:pt x="0" y="20198"/>
                    </a:lnTo>
                    <a:lnTo>
                      <a:pt x="0" y="27326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99" name="Shape 1405">
                <a:extLst>
                  <a:ext uri="{FF2B5EF4-FFF2-40B4-BE49-F238E27FC236}">
                    <a16:creationId xmlns:a16="http://schemas.microsoft.com/office/drawing/2014/main" id="{886091CC-110D-4F24-9B5C-EB1D898367F4}"/>
                  </a:ext>
                </a:extLst>
              </p:cNvPr>
              <p:cNvSpPr/>
              <p:nvPr/>
            </p:nvSpPr>
            <p:spPr>
              <a:xfrm>
                <a:off x="11032834" y="2024060"/>
                <a:ext cx="204203" cy="453447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43200" y="0"/>
                    </a:moveTo>
                    <a:lnTo>
                      <a:pt x="33600" y="1081"/>
                    </a:lnTo>
                    <a:lnTo>
                      <a:pt x="21600" y="1081"/>
                    </a:lnTo>
                    <a:lnTo>
                      <a:pt x="21600" y="6486"/>
                    </a:lnTo>
                    <a:lnTo>
                      <a:pt x="19200" y="9729"/>
                    </a:lnTo>
                    <a:lnTo>
                      <a:pt x="14400" y="14054"/>
                    </a:lnTo>
                    <a:lnTo>
                      <a:pt x="21600" y="18378"/>
                    </a:lnTo>
                    <a:lnTo>
                      <a:pt x="21600" y="27027"/>
                    </a:lnTo>
                    <a:lnTo>
                      <a:pt x="21600" y="32432"/>
                    </a:lnTo>
                    <a:lnTo>
                      <a:pt x="28800" y="36756"/>
                    </a:lnTo>
                    <a:lnTo>
                      <a:pt x="28800" y="41081"/>
                    </a:lnTo>
                    <a:lnTo>
                      <a:pt x="7200" y="48648"/>
                    </a:lnTo>
                    <a:lnTo>
                      <a:pt x="7200" y="62702"/>
                    </a:lnTo>
                    <a:lnTo>
                      <a:pt x="0" y="78918"/>
                    </a:lnTo>
                    <a:lnTo>
                      <a:pt x="2400" y="90810"/>
                    </a:lnTo>
                    <a:lnTo>
                      <a:pt x="4800" y="102702"/>
                    </a:lnTo>
                    <a:lnTo>
                      <a:pt x="2400" y="112432"/>
                    </a:lnTo>
                    <a:lnTo>
                      <a:pt x="7200" y="120000"/>
                    </a:lnTo>
                    <a:lnTo>
                      <a:pt x="96000" y="110270"/>
                    </a:lnTo>
                    <a:lnTo>
                      <a:pt x="98400" y="104864"/>
                    </a:lnTo>
                    <a:lnTo>
                      <a:pt x="117600" y="101621"/>
                    </a:lnTo>
                    <a:lnTo>
                      <a:pt x="115200" y="98378"/>
                    </a:lnTo>
                    <a:lnTo>
                      <a:pt x="120000" y="89729"/>
                    </a:lnTo>
                    <a:lnTo>
                      <a:pt x="120000" y="89729"/>
                    </a:lnTo>
                    <a:lnTo>
                      <a:pt x="98400" y="81081"/>
                    </a:lnTo>
                    <a:lnTo>
                      <a:pt x="43200" y="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00" name="Shape 1406">
                <a:extLst>
                  <a:ext uri="{FF2B5EF4-FFF2-40B4-BE49-F238E27FC236}">
                    <a16:creationId xmlns:a16="http://schemas.microsoft.com/office/drawing/2014/main" id="{4426CF0C-FF1A-4C41-8A64-5A8E612DED06}"/>
                  </a:ext>
                </a:extLst>
              </p:cNvPr>
              <p:cNvSpPr/>
              <p:nvPr/>
            </p:nvSpPr>
            <p:spPr>
              <a:xfrm>
                <a:off x="10955237" y="2575551"/>
                <a:ext cx="228709" cy="208340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8571" y="68235"/>
                    </a:moveTo>
                    <a:lnTo>
                      <a:pt x="8571" y="84705"/>
                    </a:lnTo>
                    <a:lnTo>
                      <a:pt x="17142" y="98823"/>
                    </a:lnTo>
                    <a:lnTo>
                      <a:pt x="8571" y="112941"/>
                    </a:lnTo>
                    <a:lnTo>
                      <a:pt x="10714" y="120000"/>
                    </a:lnTo>
                    <a:lnTo>
                      <a:pt x="19285" y="117647"/>
                    </a:lnTo>
                    <a:lnTo>
                      <a:pt x="27857" y="105882"/>
                    </a:lnTo>
                    <a:lnTo>
                      <a:pt x="32142" y="103529"/>
                    </a:lnTo>
                    <a:lnTo>
                      <a:pt x="42857" y="91764"/>
                    </a:lnTo>
                    <a:lnTo>
                      <a:pt x="53571" y="84705"/>
                    </a:lnTo>
                    <a:lnTo>
                      <a:pt x="70714" y="84705"/>
                    </a:lnTo>
                    <a:lnTo>
                      <a:pt x="79285" y="80000"/>
                    </a:lnTo>
                    <a:lnTo>
                      <a:pt x="83571" y="75294"/>
                    </a:lnTo>
                    <a:lnTo>
                      <a:pt x="94285" y="70588"/>
                    </a:lnTo>
                    <a:lnTo>
                      <a:pt x="104999" y="65882"/>
                    </a:lnTo>
                    <a:lnTo>
                      <a:pt x="117857" y="65882"/>
                    </a:lnTo>
                    <a:lnTo>
                      <a:pt x="119999" y="61176"/>
                    </a:lnTo>
                    <a:lnTo>
                      <a:pt x="107142" y="0"/>
                    </a:lnTo>
                    <a:lnTo>
                      <a:pt x="51428" y="11764"/>
                    </a:lnTo>
                    <a:lnTo>
                      <a:pt x="0" y="21176"/>
                    </a:lnTo>
                    <a:lnTo>
                      <a:pt x="0" y="23529"/>
                    </a:lnTo>
                    <a:lnTo>
                      <a:pt x="8571" y="68235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01" name="Shape 1407">
                <a:extLst>
                  <a:ext uri="{FF2B5EF4-FFF2-40B4-BE49-F238E27FC236}">
                    <a16:creationId xmlns:a16="http://schemas.microsoft.com/office/drawing/2014/main" id="{097FC0E0-DD7D-497B-922A-EC461E315F01}"/>
                  </a:ext>
                </a:extLst>
              </p:cNvPr>
              <p:cNvSpPr/>
              <p:nvPr/>
            </p:nvSpPr>
            <p:spPr>
              <a:xfrm>
                <a:off x="11159443" y="2555123"/>
                <a:ext cx="98019" cy="126637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15000" y="58064"/>
                    </a:moveTo>
                    <a:lnTo>
                      <a:pt x="105000" y="50322"/>
                    </a:lnTo>
                    <a:lnTo>
                      <a:pt x="105000" y="46451"/>
                    </a:lnTo>
                    <a:lnTo>
                      <a:pt x="90000" y="42580"/>
                    </a:lnTo>
                    <a:lnTo>
                      <a:pt x="80000" y="38709"/>
                    </a:lnTo>
                    <a:lnTo>
                      <a:pt x="80000" y="27096"/>
                    </a:lnTo>
                    <a:lnTo>
                      <a:pt x="65000" y="19354"/>
                    </a:lnTo>
                    <a:lnTo>
                      <a:pt x="50000" y="0"/>
                    </a:lnTo>
                    <a:lnTo>
                      <a:pt x="0" y="19354"/>
                    </a:lnTo>
                    <a:lnTo>
                      <a:pt x="30000" y="120000"/>
                    </a:lnTo>
                    <a:lnTo>
                      <a:pt x="40000" y="112258"/>
                    </a:lnTo>
                    <a:lnTo>
                      <a:pt x="50000" y="108387"/>
                    </a:lnTo>
                    <a:lnTo>
                      <a:pt x="70000" y="100645"/>
                    </a:lnTo>
                    <a:lnTo>
                      <a:pt x="70000" y="89032"/>
                    </a:lnTo>
                    <a:lnTo>
                      <a:pt x="70000" y="85161"/>
                    </a:lnTo>
                    <a:lnTo>
                      <a:pt x="70000" y="77419"/>
                    </a:lnTo>
                    <a:lnTo>
                      <a:pt x="70000" y="65806"/>
                    </a:lnTo>
                    <a:lnTo>
                      <a:pt x="70000" y="58064"/>
                    </a:lnTo>
                    <a:lnTo>
                      <a:pt x="70000" y="54193"/>
                    </a:lnTo>
                    <a:lnTo>
                      <a:pt x="75000" y="50322"/>
                    </a:lnTo>
                    <a:lnTo>
                      <a:pt x="80000" y="50322"/>
                    </a:lnTo>
                    <a:lnTo>
                      <a:pt x="95000" y="54193"/>
                    </a:lnTo>
                    <a:lnTo>
                      <a:pt x="95000" y="61935"/>
                    </a:lnTo>
                    <a:lnTo>
                      <a:pt x="105000" y="77419"/>
                    </a:lnTo>
                    <a:lnTo>
                      <a:pt x="105000" y="81290"/>
                    </a:lnTo>
                    <a:lnTo>
                      <a:pt x="110000" y="85161"/>
                    </a:lnTo>
                    <a:lnTo>
                      <a:pt x="120000" y="81290"/>
                    </a:lnTo>
                    <a:lnTo>
                      <a:pt x="120000" y="77419"/>
                    </a:lnTo>
                    <a:lnTo>
                      <a:pt x="120000" y="73548"/>
                    </a:lnTo>
                    <a:lnTo>
                      <a:pt x="115000" y="58064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02" name="Shape 1408">
                <a:extLst>
                  <a:ext uri="{FF2B5EF4-FFF2-40B4-BE49-F238E27FC236}">
                    <a16:creationId xmlns:a16="http://schemas.microsoft.com/office/drawing/2014/main" id="{923C227B-F539-4811-ADFB-9F7284DA0FCA}"/>
                  </a:ext>
                </a:extLst>
              </p:cNvPr>
              <p:cNvSpPr/>
              <p:nvPr/>
            </p:nvSpPr>
            <p:spPr>
              <a:xfrm>
                <a:off x="10955237" y="2408060"/>
                <a:ext cx="445161" cy="224684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17798" y="76363"/>
                    </a:moveTo>
                    <a:lnTo>
                      <a:pt x="115596" y="69818"/>
                    </a:lnTo>
                    <a:lnTo>
                      <a:pt x="114495" y="67636"/>
                    </a:lnTo>
                    <a:lnTo>
                      <a:pt x="111192" y="63272"/>
                    </a:lnTo>
                    <a:lnTo>
                      <a:pt x="107889" y="58909"/>
                    </a:lnTo>
                    <a:lnTo>
                      <a:pt x="106788" y="54545"/>
                    </a:lnTo>
                    <a:lnTo>
                      <a:pt x="105688" y="58909"/>
                    </a:lnTo>
                    <a:lnTo>
                      <a:pt x="106788" y="63272"/>
                    </a:lnTo>
                    <a:lnTo>
                      <a:pt x="110091" y="69818"/>
                    </a:lnTo>
                    <a:lnTo>
                      <a:pt x="112293" y="76363"/>
                    </a:lnTo>
                    <a:lnTo>
                      <a:pt x="108990" y="78545"/>
                    </a:lnTo>
                    <a:lnTo>
                      <a:pt x="104587" y="78545"/>
                    </a:lnTo>
                    <a:lnTo>
                      <a:pt x="97981" y="85090"/>
                    </a:lnTo>
                    <a:lnTo>
                      <a:pt x="96880" y="80727"/>
                    </a:lnTo>
                    <a:lnTo>
                      <a:pt x="95779" y="78545"/>
                    </a:lnTo>
                    <a:lnTo>
                      <a:pt x="93577" y="76363"/>
                    </a:lnTo>
                    <a:lnTo>
                      <a:pt x="90275" y="72000"/>
                    </a:lnTo>
                    <a:lnTo>
                      <a:pt x="89174" y="69818"/>
                    </a:lnTo>
                    <a:lnTo>
                      <a:pt x="90275" y="65454"/>
                    </a:lnTo>
                    <a:lnTo>
                      <a:pt x="89174" y="58909"/>
                    </a:lnTo>
                    <a:lnTo>
                      <a:pt x="84770" y="52363"/>
                    </a:lnTo>
                    <a:lnTo>
                      <a:pt x="80366" y="48000"/>
                    </a:lnTo>
                    <a:lnTo>
                      <a:pt x="78165" y="48000"/>
                    </a:lnTo>
                    <a:lnTo>
                      <a:pt x="75963" y="48000"/>
                    </a:lnTo>
                    <a:lnTo>
                      <a:pt x="74862" y="43636"/>
                    </a:lnTo>
                    <a:lnTo>
                      <a:pt x="74862" y="34909"/>
                    </a:lnTo>
                    <a:lnTo>
                      <a:pt x="77064" y="30545"/>
                    </a:lnTo>
                    <a:lnTo>
                      <a:pt x="78165" y="28363"/>
                    </a:lnTo>
                    <a:lnTo>
                      <a:pt x="80366" y="24000"/>
                    </a:lnTo>
                    <a:lnTo>
                      <a:pt x="84770" y="19636"/>
                    </a:lnTo>
                    <a:lnTo>
                      <a:pt x="84770" y="17454"/>
                    </a:lnTo>
                    <a:lnTo>
                      <a:pt x="83669" y="13090"/>
                    </a:lnTo>
                    <a:lnTo>
                      <a:pt x="80366" y="13090"/>
                    </a:lnTo>
                    <a:lnTo>
                      <a:pt x="78165" y="13090"/>
                    </a:lnTo>
                    <a:lnTo>
                      <a:pt x="77064" y="6545"/>
                    </a:lnTo>
                    <a:lnTo>
                      <a:pt x="74862" y="0"/>
                    </a:lnTo>
                    <a:lnTo>
                      <a:pt x="66055" y="6545"/>
                    </a:lnTo>
                    <a:lnTo>
                      <a:pt x="64954" y="17454"/>
                    </a:lnTo>
                    <a:lnTo>
                      <a:pt x="24220" y="37090"/>
                    </a:lnTo>
                    <a:lnTo>
                      <a:pt x="0" y="43636"/>
                    </a:lnTo>
                    <a:lnTo>
                      <a:pt x="0" y="72000"/>
                    </a:lnTo>
                    <a:lnTo>
                      <a:pt x="0" y="109090"/>
                    </a:lnTo>
                    <a:lnTo>
                      <a:pt x="26422" y="100363"/>
                    </a:lnTo>
                    <a:lnTo>
                      <a:pt x="55045" y="89454"/>
                    </a:lnTo>
                    <a:lnTo>
                      <a:pt x="66055" y="78545"/>
                    </a:lnTo>
                    <a:lnTo>
                      <a:pt x="69357" y="89454"/>
                    </a:lnTo>
                    <a:lnTo>
                      <a:pt x="72660" y="93818"/>
                    </a:lnTo>
                    <a:lnTo>
                      <a:pt x="72660" y="100363"/>
                    </a:lnTo>
                    <a:lnTo>
                      <a:pt x="74862" y="102545"/>
                    </a:lnTo>
                    <a:lnTo>
                      <a:pt x="78165" y="104727"/>
                    </a:lnTo>
                    <a:lnTo>
                      <a:pt x="78165" y="106909"/>
                    </a:lnTo>
                    <a:lnTo>
                      <a:pt x="80366" y="111272"/>
                    </a:lnTo>
                    <a:lnTo>
                      <a:pt x="81467" y="120000"/>
                    </a:lnTo>
                    <a:lnTo>
                      <a:pt x="81467" y="120000"/>
                    </a:lnTo>
                    <a:lnTo>
                      <a:pt x="83669" y="120000"/>
                    </a:lnTo>
                    <a:lnTo>
                      <a:pt x="84770" y="120000"/>
                    </a:lnTo>
                    <a:lnTo>
                      <a:pt x="86972" y="115636"/>
                    </a:lnTo>
                    <a:lnTo>
                      <a:pt x="86972" y="106909"/>
                    </a:lnTo>
                    <a:lnTo>
                      <a:pt x="90275" y="102545"/>
                    </a:lnTo>
                    <a:lnTo>
                      <a:pt x="90275" y="98181"/>
                    </a:lnTo>
                    <a:lnTo>
                      <a:pt x="93577" y="93818"/>
                    </a:lnTo>
                    <a:lnTo>
                      <a:pt x="94678" y="100363"/>
                    </a:lnTo>
                    <a:lnTo>
                      <a:pt x="95779" y="106909"/>
                    </a:lnTo>
                    <a:lnTo>
                      <a:pt x="95779" y="111272"/>
                    </a:lnTo>
                    <a:lnTo>
                      <a:pt x="99082" y="106909"/>
                    </a:lnTo>
                    <a:lnTo>
                      <a:pt x="101284" y="102545"/>
                    </a:lnTo>
                    <a:lnTo>
                      <a:pt x="101284" y="98181"/>
                    </a:lnTo>
                    <a:lnTo>
                      <a:pt x="103486" y="98181"/>
                    </a:lnTo>
                    <a:lnTo>
                      <a:pt x="106788" y="93818"/>
                    </a:lnTo>
                    <a:lnTo>
                      <a:pt x="111192" y="93818"/>
                    </a:lnTo>
                    <a:lnTo>
                      <a:pt x="113394" y="89454"/>
                    </a:lnTo>
                    <a:lnTo>
                      <a:pt x="116697" y="87272"/>
                    </a:lnTo>
                    <a:lnTo>
                      <a:pt x="118899" y="82909"/>
                    </a:lnTo>
                    <a:lnTo>
                      <a:pt x="120000" y="78545"/>
                    </a:lnTo>
                    <a:lnTo>
                      <a:pt x="117798" y="76363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03" name="Shape 1409">
                <a:extLst>
                  <a:ext uri="{FF2B5EF4-FFF2-40B4-BE49-F238E27FC236}">
                    <a16:creationId xmlns:a16="http://schemas.microsoft.com/office/drawing/2014/main" id="{EC62FE4F-6BFF-4976-8950-44C028532A47}"/>
                  </a:ext>
                </a:extLst>
              </p:cNvPr>
              <p:cNvSpPr/>
              <p:nvPr/>
            </p:nvSpPr>
            <p:spPr>
              <a:xfrm>
                <a:off x="11298301" y="2616403"/>
                <a:ext cx="40837" cy="28598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30000" y="120000"/>
                    </a:moveTo>
                    <a:cubicBezTo>
                      <a:pt x="70000" y="120000"/>
                      <a:pt x="70000" y="120000"/>
                      <a:pt x="70000" y="120000"/>
                    </a:cubicBezTo>
                    <a:cubicBezTo>
                      <a:pt x="100000" y="80000"/>
                      <a:pt x="100000" y="80000"/>
                      <a:pt x="100000" y="80000"/>
                    </a:cubicBezTo>
                    <a:cubicBezTo>
                      <a:pt x="120000" y="53333"/>
                      <a:pt x="120000" y="53333"/>
                      <a:pt x="120000" y="53333"/>
                    </a:cubicBezTo>
                    <a:cubicBezTo>
                      <a:pt x="80000" y="26666"/>
                      <a:pt x="80000" y="26666"/>
                      <a:pt x="80000" y="26666"/>
                    </a:cubicBezTo>
                    <a:cubicBezTo>
                      <a:pt x="80000" y="26666"/>
                      <a:pt x="50000" y="0"/>
                      <a:pt x="40000" y="13333"/>
                    </a:cubicBezTo>
                    <a:cubicBezTo>
                      <a:pt x="40000" y="26666"/>
                      <a:pt x="0" y="93333"/>
                      <a:pt x="0" y="93333"/>
                    </a:cubicBezTo>
                    <a:lnTo>
                      <a:pt x="30000" y="12000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04" name="Shape 1410">
                <a:extLst>
                  <a:ext uri="{FF2B5EF4-FFF2-40B4-BE49-F238E27FC236}">
                    <a16:creationId xmlns:a16="http://schemas.microsoft.com/office/drawing/2014/main" id="{BC059A4A-22F7-4BAF-994D-96F10F5D0883}"/>
                  </a:ext>
                </a:extLst>
              </p:cNvPr>
              <p:cNvSpPr/>
              <p:nvPr/>
            </p:nvSpPr>
            <p:spPr>
              <a:xfrm>
                <a:off x="10783707" y="2771639"/>
                <a:ext cx="171527" cy="384001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02857" y="16595"/>
                    </a:moveTo>
                    <a:lnTo>
                      <a:pt x="102857" y="11489"/>
                    </a:lnTo>
                    <a:lnTo>
                      <a:pt x="97142" y="8936"/>
                    </a:lnTo>
                    <a:lnTo>
                      <a:pt x="60000" y="3829"/>
                    </a:lnTo>
                    <a:lnTo>
                      <a:pt x="25714" y="0"/>
                    </a:lnTo>
                    <a:lnTo>
                      <a:pt x="22857" y="3829"/>
                    </a:lnTo>
                    <a:lnTo>
                      <a:pt x="17142" y="8936"/>
                    </a:lnTo>
                    <a:lnTo>
                      <a:pt x="8571" y="11489"/>
                    </a:lnTo>
                    <a:lnTo>
                      <a:pt x="5714" y="17872"/>
                    </a:lnTo>
                    <a:lnTo>
                      <a:pt x="8571" y="25531"/>
                    </a:lnTo>
                    <a:lnTo>
                      <a:pt x="8571" y="31914"/>
                    </a:lnTo>
                    <a:lnTo>
                      <a:pt x="5714" y="38297"/>
                    </a:lnTo>
                    <a:lnTo>
                      <a:pt x="14285" y="40851"/>
                    </a:lnTo>
                    <a:lnTo>
                      <a:pt x="25714" y="43404"/>
                    </a:lnTo>
                    <a:lnTo>
                      <a:pt x="31428" y="48510"/>
                    </a:lnTo>
                    <a:lnTo>
                      <a:pt x="42857" y="53617"/>
                    </a:lnTo>
                    <a:lnTo>
                      <a:pt x="57142" y="58723"/>
                    </a:lnTo>
                    <a:lnTo>
                      <a:pt x="57142" y="60000"/>
                    </a:lnTo>
                    <a:lnTo>
                      <a:pt x="51428" y="67659"/>
                    </a:lnTo>
                    <a:lnTo>
                      <a:pt x="28571" y="74042"/>
                    </a:lnTo>
                    <a:lnTo>
                      <a:pt x="8571" y="81702"/>
                    </a:lnTo>
                    <a:lnTo>
                      <a:pt x="5714" y="85531"/>
                    </a:lnTo>
                    <a:lnTo>
                      <a:pt x="0" y="91914"/>
                    </a:lnTo>
                    <a:lnTo>
                      <a:pt x="2857" y="95744"/>
                    </a:lnTo>
                    <a:lnTo>
                      <a:pt x="8571" y="100851"/>
                    </a:lnTo>
                    <a:lnTo>
                      <a:pt x="22857" y="105957"/>
                    </a:lnTo>
                    <a:lnTo>
                      <a:pt x="34285" y="108510"/>
                    </a:lnTo>
                    <a:lnTo>
                      <a:pt x="42857" y="109787"/>
                    </a:lnTo>
                    <a:lnTo>
                      <a:pt x="57142" y="109787"/>
                    </a:lnTo>
                    <a:lnTo>
                      <a:pt x="68571" y="109787"/>
                    </a:lnTo>
                    <a:lnTo>
                      <a:pt x="71428" y="109787"/>
                    </a:lnTo>
                    <a:lnTo>
                      <a:pt x="68571" y="114893"/>
                    </a:lnTo>
                    <a:lnTo>
                      <a:pt x="68571" y="118723"/>
                    </a:lnTo>
                    <a:lnTo>
                      <a:pt x="71428" y="120000"/>
                    </a:lnTo>
                    <a:lnTo>
                      <a:pt x="74285" y="120000"/>
                    </a:lnTo>
                    <a:lnTo>
                      <a:pt x="77142" y="111063"/>
                    </a:lnTo>
                    <a:lnTo>
                      <a:pt x="80000" y="109787"/>
                    </a:lnTo>
                    <a:lnTo>
                      <a:pt x="88571" y="104680"/>
                    </a:lnTo>
                    <a:lnTo>
                      <a:pt x="102857" y="99574"/>
                    </a:lnTo>
                    <a:lnTo>
                      <a:pt x="102857" y="88085"/>
                    </a:lnTo>
                    <a:lnTo>
                      <a:pt x="102857" y="82978"/>
                    </a:lnTo>
                    <a:lnTo>
                      <a:pt x="114285" y="77872"/>
                    </a:lnTo>
                    <a:lnTo>
                      <a:pt x="117142" y="67659"/>
                    </a:lnTo>
                    <a:lnTo>
                      <a:pt x="120000" y="61276"/>
                    </a:lnTo>
                    <a:lnTo>
                      <a:pt x="120000" y="51063"/>
                    </a:lnTo>
                    <a:lnTo>
                      <a:pt x="120000" y="45957"/>
                    </a:lnTo>
                    <a:lnTo>
                      <a:pt x="114285" y="38297"/>
                    </a:lnTo>
                    <a:lnTo>
                      <a:pt x="102857" y="38297"/>
                    </a:lnTo>
                    <a:lnTo>
                      <a:pt x="97142" y="38297"/>
                    </a:lnTo>
                    <a:lnTo>
                      <a:pt x="100000" y="31914"/>
                    </a:lnTo>
                    <a:lnTo>
                      <a:pt x="105714" y="25531"/>
                    </a:lnTo>
                    <a:lnTo>
                      <a:pt x="111428" y="22978"/>
                    </a:lnTo>
                    <a:lnTo>
                      <a:pt x="108571" y="21702"/>
                    </a:lnTo>
                    <a:lnTo>
                      <a:pt x="102857" y="16595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05" name="Shape 1411">
                <a:extLst>
                  <a:ext uri="{FF2B5EF4-FFF2-40B4-BE49-F238E27FC236}">
                    <a16:creationId xmlns:a16="http://schemas.microsoft.com/office/drawing/2014/main" id="{57AFC390-F112-4C27-98AC-7D2FC63D4BF7}"/>
                  </a:ext>
                </a:extLst>
              </p:cNvPr>
              <p:cNvSpPr/>
              <p:nvPr/>
            </p:nvSpPr>
            <p:spPr>
              <a:xfrm>
                <a:off x="10751034" y="3037170"/>
                <a:ext cx="134771" cy="220595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32727" y="22222"/>
                    </a:moveTo>
                    <a:lnTo>
                      <a:pt x="29090" y="15555"/>
                    </a:lnTo>
                    <a:lnTo>
                      <a:pt x="36363" y="4444"/>
                    </a:lnTo>
                    <a:lnTo>
                      <a:pt x="40000" y="2222"/>
                    </a:lnTo>
                    <a:lnTo>
                      <a:pt x="32727" y="0"/>
                    </a:lnTo>
                    <a:lnTo>
                      <a:pt x="21818" y="0"/>
                    </a:lnTo>
                    <a:lnTo>
                      <a:pt x="18181" y="0"/>
                    </a:lnTo>
                    <a:lnTo>
                      <a:pt x="7272" y="4444"/>
                    </a:lnTo>
                    <a:lnTo>
                      <a:pt x="0" y="11111"/>
                    </a:lnTo>
                    <a:lnTo>
                      <a:pt x="43636" y="120000"/>
                    </a:lnTo>
                    <a:lnTo>
                      <a:pt x="120000" y="113333"/>
                    </a:lnTo>
                    <a:lnTo>
                      <a:pt x="116363" y="95555"/>
                    </a:lnTo>
                    <a:lnTo>
                      <a:pt x="105454" y="88888"/>
                    </a:lnTo>
                    <a:lnTo>
                      <a:pt x="101818" y="84444"/>
                    </a:lnTo>
                    <a:lnTo>
                      <a:pt x="94545" y="82222"/>
                    </a:lnTo>
                    <a:lnTo>
                      <a:pt x="83636" y="75555"/>
                    </a:lnTo>
                    <a:lnTo>
                      <a:pt x="72727" y="71111"/>
                    </a:lnTo>
                    <a:lnTo>
                      <a:pt x="65454" y="62222"/>
                    </a:lnTo>
                    <a:lnTo>
                      <a:pt x="58181" y="53333"/>
                    </a:lnTo>
                    <a:lnTo>
                      <a:pt x="50909" y="44444"/>
                    </a:lnTo>
                    <a:lnTo>
                      <a:pt x="58181" y="37777"/>
                    </a:lnTo>
                    <a:lnTo>
                      <a:pt x="40000" y="31111"/>
                    </a:lnTo>
                    <a:lnTo>
                      <a:pt x="32727" y="22222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06" name="Shape 1412">
                <a:extLst>
                  <a:ext uri="{FF2B5EF4-FFF2-40B4-BE49-F238E27FC236}">
                    <a16:creationId xmlns:a16="http://schemas.microsoft.com/office/drawing/2014/main" id="{353B7935-C920-40A2-ACFD-6AC2C6F043F7}"/>
                  </a:ext>
                </a:extLst>
              </p:cNvPr>
              <p:cNvSpPr/>
              <p:nvPr/>
            </p:nvSpPr>
            <p:spPr>
              <a:xfrm>
                <a:off x="10097584" y="2669508"/>
                <a:ext cx="767805" cy="498384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05319" y="88524"/>
                    </a:moveTo>
                    <a:lnTo>
                      <a:pt x="105957" y="88524"/>
                    </a:lnTo>
                    <a:lnTo>
                      <a:pt x="107872" y="88524"/>
                    </a:lnTo>
                    <a:lnTo>
                      <a:pt x="109148" y="89508"/>
                    </a:lnTo>
                    <a:lnTo>
                      <a:pt x="109148" y="87540"/>
                    </a:lnTo>
                    <a:lnTo>
                      <a:pt x="113617" y="81639"/>
                    </a:lnTo>
                    <a:lnTo>
                      <a:pt x="118723" y="76721"/>
                    </a:lnTo>
                    <a:lnTo>
                      <a:pt x="120000" y="70819"/>
                    </a:lnTo>
                    <a:lnTo>
                      <a:pt x="120000" y="69836"/>
                    </a:lnTo>
                    <a:lnTo>
                      <a:pt x="116808" y="65901"/>
                    </a:lnTo>
                    <a:lnTo>
                      <a:pt x="114255" y="61967"/>
                    </a:lnTo>
                    <a:lnTo>
                      <a:pt x="112978" y="58032"/>
                    </a:lnTo>
                    <a:lnTo>
                      <a:pt x="110425" y="56065"/>
                    </a:lnTo>
                    <a:lnTo>
                      <a:pt x="108510" y="54098"/>
                    </a:lnTo>
                    <a:lnTo>
                      <a:pt x="109148" y="49180"/>
                    </a:lnTo>
                    <a:lnTo>
                      <a:pt x="109148" y="44262"/>
                    </a:lnTo>
                    <a:lnTo>
                      <a:pt x="108510" y="38360"/>
                    </a:lnTo>
                    <a:lnTo>
                      <a:pt x="109148" y="33442"/>
                    </a:lnTo>
                    <a:lnTo>
                      <a:pt x="111063" y="31475"/>
                    </a:lnTo>
                    <a:lnTo>
                      <a:pt x="112340" y="27540"/>
                    </a:lnTo>
                    <a:lnTo>
                      <a:pt x="112978" y="24590"/>
                    </a:lnTo>
                    <a:lnTo>
                      <a:pt x="114255" y="19672"/>
                    </a:lnTo>
                    <a:lnTo>
                      <a:pt x="112340" y="17704"/>
                    </a:lnTo>
                    <a:lnTo>
                      <a:pt x="110425" y="17704"/>
                    </a:lnTo>
                    <a:lnTo>
                      <a:pt x="108510" y="16721"/>
                    </a:lnTo>
                    <a:lnTo>
                      <a:pt x="105957" y="9836"/>
                    </a:lnTo>
                    <a:lnTo>
                      <a:pt x="103404" y="4918"/>
                    </a:lnTo>
                    <a:lnTo>
                      <a:pt x="98297" y="0"/>
                    </a:lnTo>
                    <a:lnTo>
                      <a:pt x="15319" y="22622"/>
                    </a:lnTo>
                    <a:lnTo>
                      <a:pt x="14042" y="12786"/>
                    </a:lnTo>
                    <a:lnTo>
                      <a:pt x="10212" y="16721"/>
                    </a:lnTo>
                    <a:lnTo>
                      <a:pt x="7021" y="20655"/>
                    </a:lnTo>
                    <a:lnTo>
                      <a:pt x="3829" y="23606"/>
                    </a:lnTo>
                    <a:lnTo>
                      <a:pt x="0" y="27540"/>
                    </a:lnTo>
                    <a:lnTo>
                      <a:pt x="10212" y="120000"/>
                    </a:lnTo>
                    <a:lnTo>
                      <a:pt x="102127" y="93442"/>
                    </a:lnTo>
                    <a:lnTo>
                      <a:pt x="103404" y="90491"/>
                    </a:lnTo>
                    <a:lnTo>
                      <a:pt x="105319" y="88524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07" name="Shape 1413">
                <a:extLst>
                  <a:ext uri="{FF2B5EF4-FFF2-40B4-BE49-F238E27FC236}">
                    <a16:creationId xmlns:a16="http://schemas.microsoft.com/office/drawing/2014/main" id="{4659592B-7E49-4E77-9FD4-39519E702187}"/>
                  </a:ext>
                </a:extLst>
              </p:cNvPr>
              <p:cNvSpPr/>
              <p:nvPr/>
            </p:nvSpPr>
            <p:spPr>
              <a:xfrm>
                <a:off x="9378787" y="4667139"/>
                <a:ext cx="1188461" cy="931410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80000" y="0"/>
                    </a:moveTo>
                    <a:lnTo>
                      <a:pt x="80000" y="0"/>
                    </a:lnTo>
                    <a:lnTo>
                      <a:pt x="82474" y="0"/>
                    </a:lnTo>
                    <a:lnTo>
                      <a:pt x="86185" y="1052"/>
                    </a:lnTo>
                    <a:lnTo>
                      <a:pt x="86597" y="3684"/>
                    </a:lnTo>
                    <a:lnTo>
                      <a:pt x="87010" y="5263"/>
                    </a:lnTo>
                    <a:lnTo>
                      <a:pt x="88659" y="6315"/>
                    </a:lnTo>
                    <a:lnTo>
                      <a:pt x="89896" y="8947"/>
                    </a:lnTo>
                    <a:lnTo>
                      <a:pt x="91958" y="15789"/>
                    </a:lnTo>
                    <a:lnTo>
                      <a:pt x="94432" y="21052"/>
                    </a:lnTo>
                    <a:lnTo>
                      <a:pt x="97731" y="28947"/>
                    </a:lnTo>
                    <a:lnTo>
                      <a:pt x="99381" y="32631"/>
                    </a:lnTo>
                    <a:lnTo>
                      <a:pt x="103505" y="40526"/>
                    </a:lnTo>
                    <a:lnTo>
                      <a:pt x="105567" y="42631"/>
                    </a:lnTo>
                    <a:lnTo>
                      <a:pt x="106804" y="44210"/>
                    </a:lnTo>
                    <a:lnTo>
                      <a:pt x="106804" y="45789"/>
                    </a:lnTo>
                    <a:lnTo>
                      <a:pt x="106804" y="50526"/>
                    </a:lnTo>
                    <a:lnTo>
                      <a:pt x="105567" y="45263"/>
                    </a:lnTo>
                    <a:lnTo>
                      <a:pt x="105154" y="50526"/>
                    </a:lnTo>
                    <a:lnTo>
                      <a:pt x="107628" y="55789"/>
                    </a:lnTo>
                    <a:lnTo>
                      <a:pt x="110515" y="61052"/>
                    </a:lnTo>
                    <a:lnTo>
                      <a:pt x="113402" y="67894"/>
                    </a:lnTo>
                    <a:lnTo>
                      <a:pt x="115463" y="72105"/>
                    </a:lnTo>
                    <a:lnTo>
                      <a:pt x="117938" y="75789"/>
                    </a:lnTo>
                    <a:lnTo>
                      <a:pt x="119175" y="80526"/>
                    </a:lnTo>
                    <a:lnTo>
                      <a:pt x="120000" y="88421"/>
                    </a:lnTo>
                    <a:lnTo>
                      <a:pt x="120000" y="92631"/>
                    </a:lnTo>
                    <a:lnTo>
                      <a:pt x="120000" y="97368"/>
                    </a:lnTo>
                    <a:lnTo>
                      <a:pt x="120000" y="101578"/>
                    </a:lnTo>
                    <a:lnTo>
                      <a:pt x="118762" y="103157"/>
                    </a:lnTo>
                    <a:lnTo>
                      <a:pt x="117938" y="105263"/>
                    </a:lnTo>
                    <a:lnTo>
                      <a:pt x="117938" y="107894"/>
                    </a:lnTo>
                    <a:lnTo>
                      <a:pt x="118350" y="111052"/>
                    </a:lnTo>
                    <a:lnTo>
                      <a:pt x="117938" y="114736"/>
                    </a:lnTo>
                    <a:lnTo>
                      <a:pt x="116701" y="118421"/>
                    </a:lnTo>
                    <a:lnTo>
                      <a:pt x="115463" y="119473"/>
                    </a:lnTo>
                    <a:lnTo>
                      <a:pt x="114226" y="119999"/>
                    </a:lnTo>
                    <a:lnTo>
                      <a:pt x="115051" y="117894"/>
                    </a:lnTo>
                    <a:lnTo>
                      <a:pt x="115876" y="116842"/>
                    </a:lnTo>
                    <a:lnTo>
                      <a:pt x="115876" y="114210"/>
                    </a:lnTo>
                    <a:lnTo>
                      <a:pt x="115463" y="114210"/>
                    </a:lnTo>
                    <a:lnTo>
                      <a:pt x="112989" y="116315"/>
                    </a:lnTo>
                    <a:lnTo>
                      <a:pt x="111340" y="116842"/>
                    </a:lnTo>
                    <a:lnTo>
                      <a:pt x="110103" y="116315"/>
                    </a:lnTo>
                    <a:lnTo>
                      <a:pt x="108865" y="116842"/>
                    </a:lnTo>
                    <a:lnTo>
                      <a:pt x="107628" y="117894"/>
                    </a:lnTo>
                    <a:lnTo>
                      <a:pt x="106804" y="117368"/>
                    </a:lnTo>
                    <a:lnTo>
                      <a:pt x="105154" y="116842"/>
                    </a:lnTo>
                    <a:lnTo>
                      <a:pt x="104329" y="115263"/>
                    </a:lnTo>
                    <a:lnTo>
                      <a:pt x="104742" y="114210"/>
                    </a:lnTo>
                    <a:lnTo>
                      <a:pt x="105154" y="114210"/>
                    </a:lnTo>
                    <a:lnTo>
                      <a:pt x="108041" y="114736"/>
                    </a:lnTo>
                    <a:lnTo>
                      <a:pt x="108865" y="114210"/>
                    </a:lnTo>
                    <a:lnTo>
                      <a:pt x="108453" y="113684"/>
                    </a:lnTo>
                    <a:lnTo>
                      <a:pt x="107216" y="112631"/>
                    </a:lnTo>
                    <a:lnTo>
                      <a:pt x="105567" y="113157"/>
                    </a:lnTo>
                    <a:lnTo>
                      <a:pt x="104329" y="111578"/>
                    </a:lnTo>
                    <a:lnTo>
                      <a:pt x="103092" y="108947"/>
                    </a:lnTo>
                    <a:lnTo>
                      <a:pt x="101443" y="106842"/>
                    </a:lnTo>
                    <a:lnTo>
                      <a:pt x="101030" y="105263"/>
                    </a:lnTo>
                    <a:lnTo>
                      <a:pt x="99793" y="103157"/>
                    </a:lnTo>
                    <a:lnTo>
                      <a:pt x="97731" y="102631"/>
                    </a:lnTo>
                    <a:lnTo>
                      <a:pt x="96082" y="101578"/>
                    </a:lnTo>
                    <a:lnTo>
                      <a:pt x="94432" y="101052"/>
                    </a:lnTo>
                    <a:lnTo>
                      <a:pt x="92783" y="95263"/>
                    </a:lnTo>
                    <a:lnTo>
                      <a:pt x="91958" y="93157"/>
                    </a:lnTo>
                    <a:lnTo>
                      <a:pt x="90721" y="91578"/>
                    </a:lnTo>
                    <a:lnTo>
                      <a:pt x="90309" y="90526"/>
                    </a:lnTo>
                    <a:lnTo>
                      <a:pt x="89072" y="88947"/>
                    </a:lnTo>
                    <a:lnTo>
                      <a:pt x="87835" y="87894"/>
                    </a:lnTo>
                    <a:lnTo>
                      <a:pt x="88247" y="85789"/>
                    </a:lnTo>
                    <a:lnTo>
                      <a:pt x="88659" y="84736"/>
                    </a:lnTo>
                    <a:lnTo>
                      <a:pt x="87422" y="81578"/>
                    </a:lnTo>
                    <a:lnTo>
                      <a:pt x="86185" y="82105"/>
                    </a:lnTo>
                    <a:lnTo>
                      <a:pt x="86185" y="83157"/>
                    </a:lnTo>
                    <a:lnTo>
                      <a:pt x="86185" y="85789"/>
                    </a:lnTo>
                    <a:lnTo>
                      <a:pt x="85360" y="85789"/>
                    </a:lnTo>
                    <a:lnTo>
                      <a:pt x="84536" y="84736"/>
                    </a:lnTo>
                    <a:lnTo>
                      <a:pt x="83298" y="83157"/>
                    </a:lnTo>
                    <a:lnTo>
                      <a:pt x="81237" y="78947"/>
                    </a:lnTo>
                    <a:lnTo>
                      <a:pt x="80000" y="77368"/>
                    </a:lnTo>
                    <a:lnTo>
                      <a:pt x="79587" y="76842"/>
                    </a:lnTo>
                    <a:lnTo>
                      <a:pt x="80000" y="75789"/>
                    </a:lnTo>
                    <a:lnTo>
                      <a:pt x="79175" y="73684"/>
                    </a:lnTo>
                    <a:lnTo>
                      <a:pt x="77938" y="73157"/>
                    </a:lnTo>
                    <a:lnTo>
                      <a:pt x="79175" y="70000"/>
                    </a:lnTo>
                    <a:lnTo>
                      <a:pt x="80000" y="68421"/>
                    </a:lnTo>
                    <a:lnTo>
                      <a:pt x="80412" y="66842"/>
                    </a:lnTo>
                    <a:lnTo>
                      <a:pt x="80824" y="65263"/>
                    </a:lnTo>
                    <a:lnTo>
                      <a:pt x="80000" y="63684"/>
                    </a:lnTo>
                    <a:lnTo>
                      <a:pt x="79587" y="65789"/>
                    </a:lnTo>
                    <a:lnTo>
                      <a:pt x="78762" y="65263"/>
                    </a:lnTo>
                    <a:lnTo>
                      <a:pt x="78762" y="64210"/>
                    </a:lnTo>
                    <a:lnTo>
                      <a:pt x="77525" y="62105"/>
                    </a:lnTo>
                    <a:lnTo>
                      <a:pt x="77113" y="62105"/>
                    </a:lnTo>
                    <a:lnTo>
                      <a:pt x="77113" y="62631"/>
                    </a:lnTo>
                    <a:lnTo>
                      <a:pt x="77525" y="63684"/>
                    </a:lnTo>
                    <a:lnTo>
                      <a:pt x="77938" y="65263"/>
                    </a:lnTo>
                    <a:lnTo>
                      <a:pt x="77938" y="66842"/>
                    </a:lnTo>
                    <a:lnTo>
                      <a:pt x="77938" y="67368"/>
                    </a:lnTo>
                    <a:lnTo>
                      <a:pt x="77113" y="68421"/>
                    </a:lnTo>
                    <a:lnTo>
                      <a:pt x="76701" y="67894"/>
                    </a:lnTo>
                    <a:lnTo>
                      <a:pt x="75876" y="66842"/>
                    </a:lnTo>
                    <a:lnTo>
                      <a:pt x="74639" y="64210"/>
                    </a:lnTo>
                    <a:lnTo>
                      <a:pt x="74226" y="63157"/>
                    </a:lnTo>
                    <a:lnTo>
                      <a:pt x="74226" y="61052"/>
                    </a:lnTo>
                    <a:lnTo>
                      <a:pt x="74226" y="57894"/>
                    </a:lnTo>
                    <a:lnTo>
                      <a:pt x="75051" y="55789"/>
                    </a:lnTo>
                    <a:lnTo>
                      <a:pt x="75463" y="51578"/>
                    </a:lnTo>
                    <a:lnTo>
                      <a:pt x="75463" y="48947"/>
                    </a:lnTo>
                    <a:lnTo>
                      <a:pt x="75051" y="45263"/>
                    </a:lnTo>
                    <a:lnTo>
                      <a:pt x="74226" y="41578"/>
                    </a:lnTo>
                    <a:lnTo>
                      <a:pt x="72989" y="40526"/>
                    </a:lnTo>
                    <a:lnTo>
                      <a:pt x="71752" y="37894"/>
                    </a:lnTo>
                    <a:lnTo>
                      <a:pt x="69278" y="37368"/>
                    </a:lnTo>
                    <a:lnTo>
                      <a:pt x="68041" y="37368"/>
                    </a:lnTo>
                    <a:lnTo>
                      <a:pt x="67216" y="35263"/>
                    </a:lnTo>
                    <a:lnTo>
                      <a:pt x="65979" y="34736"/>
                    </a:lnTo>
                    <a:lnTo>
                      <a:pt x="64329" y="32105"/>
                    </a:lnTo>
                    <a:lnTo>
                      <a:pt x="62680" y="31578"/>
                    </a:lnTo>
                    <a:lnTo>
                      <a:pt x="62268" y="28947"/>
                    </a:lnTo>
                    <a:lnTo>
                      <a:pt x="61443" y="27894"/>
                    </a:lnTo>
                    <a:lnTo>
                      <a:pt x="58969" y="25263"/>
                    </a:lnTo>
                    <a:lnTo>
                      <a:pt x="56907" y="23157"/>
                    </a:lnTo>
                    <a:lnTo>
                      <a:pt x="55257" y="22105"/>
                    </a:lnTo>
                    <a:lnTo>
                      <a:pt x="53608" y="20526"/>
                    </a:lnTo>
                    <a:lnTo>
                      <a:pt x="52371" y="20000"/>
                    </a:lnTo>
                    <a:lnTo>
                      <a:pt x="50309" y="20000"/>
                    </a:lnTo>
                    <a:lnTo>
                      <a:pt x="48247" y="20526"/>
                    </a:lnTo>
                    <a:lnTo>
                      <a:pt x="47835" y="22105"/>
                    </a:lnTo>
                    <a:lnTo>
                      <a:pt x="48247" y="23684"/>
                    </a:lnTo>
                    <a:lnTo>
                      <a:pt x="47835" y="24736"/>
                    </a:lnTo>
                    <a:lnTo>
                      <a:pt x="47010" y="24736"/>
                    </a:lnTo>
                    <a:lnTo>
                      <a:pt x="46185" y="23684"/>
                    </a:lnTo>
                    <a:lnTo>
                      <a:pt x="44123" y="25789"/>
                    </a:lnTo>
                    <a:lnTo>
                      <a:pt x="41649" y="28421"/>
                    </a:lnTo>
                    <a:lnTo>
                      <a:pt x="38762" y="29473"/>
                    </a:lnTo>
                    <a:lnTo>
                      <a:pt x="34226" y="31052"/>
                    </a:lnTo>
                    <a:lnTo>
                      <a:pt x="34226" y="27894"/>
                    </a:lnTo>
                    <a:lnTo>
                      <a:pt x="32989" y="26315"/>
                    </a:lnTo>
                    <a:lnTo>
                      <a:pt x="31752" y="25789"/>
                    </a:lnTo>
                    <a:lnTo>
                      <a:pt x="29690" y="24210"/>
                    </a:lnTo>
                    <a:lnTo>
                      <a:pt x="31340" y="23157"/>
                    </a:lnTo>
                    <a:lnTo>
                      <a:pt x="31752" y="22631"/>
                    </a:lnTo>
                    <a:lnTo>
                      <a:pt x="28865" y="22105"/>
                    </a:lnTo>
                    <a:lnTo>
                      <a:pt x="28865" y="20526"/>
                    </a:lnTo>
                    <a:lnTo>
                      <a:pt x="29690" y="20526"/>
                    </a:lnTo>
                    <a:lnTo>
                      <a:pt x="30103" y="19473"/>
                    </a:lnTo>
                    <a:lnTo>
                      <a:pt x="30103" y="18421"/>
                    </a:lnTo>
                    <a:lnTo>
                      <a:pt x="29690" y="18421"/>
                    </a:lnTo>
                    <a:lnTo>
                      <a:pt x="28865" y="18947"/>
                    </a:lnTo>
                    <a:lnTo>
                      <a:pt x="28865" y="19473"/>
                    </a:lnTo>
                    <a:lnTo>
                      <a:pt x="28453" y="20000"/>
                    </a:lnTo>
                    <a:lnTo>
                      <a:pt x="27628" y="18947"/>
                    </a:lnTo>
                    <a:lnTo>
                      <a:pt x="25567" y="18947"/>
                    </a:lnTo>
                    <a:lnTo>
                      <a:pt x="26391" y="20526"/>
                    </a:lnTo>
                    <a:lnTo>
                      <a:pt x="26804" y="20526"/>
                    </a:lnTo>
                    <a:lnTo>
                      <a:pt x="27216" y="22631"/>
                    </a:lnTo>
                    <a:lnTo>
                      <a:pt x="26804" y="22631"/>
                    </a:lnTo>
                    <a:lnTo>
                      <a:pt x="25154" y="21578"/>
                    </a:lnTo>
                    <a:lnTo>
                      <a:pt x="23505" y="20000"/>
                    </a:lnTo>
                    <a:lnTo>
                      <a:pt x="21855" y="19473"/>
                    </a:lnTo>
                    <a:lnTo>
                      <a:pt x="18144" y="19473"/>
                    </a:lnTo>
                    <a:lnTo>
                      <a:pt x="16907" y="18421"/>
                    </a:lnTo>
                    <a:lnTo>
                      <a:pt x="16082" y="17368"/>
                    </a:lnTo>
                    <a:lnTo>
                      <a:pt x="14845" y="17368"/>
                    </a:lnTo>
                    <a:lnTo>
                      <a:pt x="10721" y="18421"/>
                    </a:lnTo>
                    <a:lnTo>
                      <a:pt x="7835" y="18421"/>
                    </a:lnTo>
                    <a:lnTo>
                      <a:pt x="5773" y="20000"/>
                    </a:lnTo>
                    <a:lnTo>
                      <a:pt x="4536" y="20526"/>
                    </a:lnTo>
                    <a:lnTo>
                      <a:pt x="2886" y="16842"/>
                    </a:lnTo>
                    <a:lnTo>
                      <a:pt x="2474" y="14210"/>
                    </a:lnTo>
                    <a:lnTo>
                      <a:pt x="824" y="11578"/>
                    </a:lnTo>
                    <a:lnTo>
                      <a:pt x="0" y="10526"/>
                    </a:lnTo>
                    <a:lnTo>
                      <a:pt x="0" y="8947"/>
                    </a:lnTo>
                    <a:lnTo>
                      <a:pt x="1237" y="8421"/>
                    </a:lnTo>
                    <a:lnTo>
                      <a:pt x="4123" y="7368"/>
                    </a:lnTo>
                    <a:lnTo>
                      <a:pt x="7422" y="6315"/>
                    </a:lnTo>
                    <a:lnTo>
                      <a:pt x="38350" y="3157"/>
                    </a:lnTo>
                    <a:lnTo>
                      <a:pt x="40412" y="8421"/>
                    </a:lnTo>
                    <a:lnTo>
                      <a:pt x="77938" y="5789"/>
                    </a:lnTo>
                    <a:lnTo>
                      <a:pt x="78350" y="10000"/>
                    </a:lnTo>
                    <a:lnTo>
                      <a:pt x="81237" y="10000"/>
                    </a:lnTo>
                    <a:lnTo>
                      <a:pt x="80000" y="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08" name="Shape 1414">
                <a:extLst>
                  <a:ext uri="{FF2B5EF4-FFF2-40B4-BE49-F238E27FC236}">
                    <a16:creationId xmlns:a16="http://schemas.microsoft.com/office/drawing/2014/main" id="{47759D98-24F7-423D-B1FA-512647330542}"/>
                  </a:ext>
                </a:extLst>
              </p:cNvPr>
              <p:cNvSpPr/>
              <p:nvPr/>
            </p:nvSpPr>
            <p:spPr>
              <a:xfrm>
                <a:off x="8455786" y="4422030"/>
                <a:ext cx="743302" cy="657708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19340" y="111055"/>
                    </a:moveTo>
                    <a:lnTo>
                      <a:pt x="118021" y="111055"/>
                    </a:lnTo>
                    <a:lnTo>
                      <a:pt x="116043" y="109565"/>
                    </a:lnTo>
                    <a:lnTo>
                      <a:pt x="115384" y="109565"/>
                    </a:lnTo>
                    <a:lnTo>
                      <a:pt x="114065" y="109565"/>
                    </a:lnTo>
                    <a:lnTo>
                      <a:pt x="112747" y="108819"/>
                    </a:lnTo>
                    <a:lnTo>
                      <a:pt x="109450" y="106583"/>
                    </a:lnTo>
                    <a:lnTo>
                      <a:pt x="108791" y="106583"/>
                    </a:lnTo>
                    <a:lnTo>
                      <a:pt x="105494" y="103602"/>
                    </a:lnTo>
                    <a:lnTo>
                      <a:pt x="104175" y="102111"/>
                    </a:lnTo>
                    <a:lnTo>
                      <a:pt x="102197" y="101366"/>
                    </a:lnTo>
                    <a:lnTo>
                      <a:pt x="100219" y="99875"/>
                    </a:lnTo>
                    <a:lnTo>
                      <a:pt x="98901" y="98385"/>
                    </a:lnTo>
                    <a:lnTo>
                      <a:pt x="100879" y="98385"/>
                    </a:lnTo>
                    <a:lnTo>
                      <a:pt x="102197" y="96894"/>
                    </a:lnTo>
                    <a:lnTo>
                      <a:pt x="105494" y="96894"/>
                    </a:lnTo>
                    <a:lnTo>
                      <a:pt x="106153" y="95403"/>
                    </a:lnTo>
                    <a:lnTo>
                      <a:pt x="109450" y="95403"/>
                    </a:lnTo>
                    <a:lnTo>
                      <a:pt x="110769" y="93913"/>
                    </a:lnTo>
                    <a:lnTo>
                      <a:pt x="108791" y="90186"/>
                    </a:lnTo>
                    <a:lnTo>
                      <a:pt x="106813" y="87950"/>
                    </a:lnTo>
                    <a:lnTo>
                      <a:pt x="106153" y="87950"/>
                    </a:lnTo>
                    <a:lnTo>
                      <a:pt x="99560" y="90186"/>
                    </a:lnTo>
                    <a:lnTo>
                      <a:pt x="97582" y="90931"/>
                    </a:lnTo>
                    <a:lnTo>
                      <a:pt x="95604" y="90931"/>
                    </a:lnTo>
                    <a:lnTo>
                      <a:pt x="95604" y="90186"/>
                    </a:lnTo>
                    <a:lnTo>
                      <a:pt x="97582" y="88695"/>
                    </a:lnTo>
                    <a:lnTo>
                      <a:pt x="99560" y="87950"/>
                    </a:lnTo>
                    <a:lnTo>
                      <a:pt x="101538" y="86459"/>
                    </a:lnTo>
                    <a:lnTo>
                      <a:pt x="101538" y="84968"/>
                    </a:lnTo>
                    <a:lnTo>
                      <a:pt x="101538" y="81987"/>
                    </a:lnTo>
                    <a:lnTo>
                      <a:pt x="100879" y="76770"/>
                    </a:lnTo>
                    <a:lnTo>
                      <a:pt x="98901" y="73788"/>
                    </a:lnTo>
                    <a:lnTo>
                      <a:pt x="97582" y="70807"/>
                    </a:lnTo>
                    <a:lnTo>
                      <a:pt x="98241" y="58881"/>
                    </a:lnTo>
                    <a:lnTo>
                      <a:pt x="55384" y="61118"/>
                    </a:lnTo>
                    <a:lnTo>
                      <a:pt x="54725" y="58136"/>
                    </a:lnTo>
                    <a:lnTo>
                      <a:pt x="54725" y="55900"/>
                    </a:lnTo>
                    <a:lnTo>
                      <a:pt x="55384" y="54409"/>
                    </a:lnTo>
                    <a:lnTo>
                      <a:pt x="57362" y="52919"/>
                    </a:lnTo>
                    <a:lnTo>
                      <a:pt x="57362" y="49192"/>
                    </a:lnTo>
                    <a:lnTo>
                      <a:pt x="57362" y="47701"/>
                    </a:lnTo>
                    <a:lnTo>
                      <a:pt x="58021" y="45465"/>
                    </a:lnTo>
                    <a:lnTo>
                      <a:pt x="58681" y="44720"/>
                    </a:lnTo>
                    <a:lnTo>
                      <a:pt x="59340" y="43229"/>
                    </a:lnTo>
                    <a:lnTo>
                      <a:pt x="60000" y="38012"/>
                    </a:lnTo>
                    <a:lnTo>
                      <a:pt x="61318" y="36521"/>
                    </a:lnTo>
                    <a:lnTo>
                      <a:pt x="63956" y="32049"/>
                    </a:lnTo>
                    <a:lnTo>
                      <a:pt x="64615" y="30559"/>
                    </a:lnTo>
                    <a:lnTo>
                      <a:pt x="64615" y="27577"/>
                    </a:lnTo>
                    <a:lnTo>
                      <a:pt x="65274" y="27577"/>
                    </a:lnTo>
                    <a:lnTo>
                      <a:pt x="67252" y="25341"/>
                    </a:lnTo>
                    <a:lnTo>
                      <a:pt x="67912" y="19378"/>
                    </a:lnTo>
                    <a:lnTo>
                      <a:pt x="67252" y="17142"/>
                    </a:lnTo>
                    <a:lnTo>
                      <a:pt x="65274" y="15652"/>
                    </a:lnTo>
                    <a:lnTo>
                      <a:pt x="65274" y="14161"/>
                    </a:lnTo>
                    <a:lnTo>
                      <a:pt x="64615" y="10434"/>
                    </a:lnTo>
                    <a:lnTo>
                      <a:pt x="64615" y="9689"/>
                    </a:lnTo>
                    <a:lnTo>
                      <a:pt x="63956" y="8198"/>
                    </a:lnTo>
                    <a:lnTo>
                      <a:pt x="61978" y="6708"/>
                    </a:lnTo>
                    <a:lnTo>
                      <a:pt x="64615" y="5217"/>
                    </a:lnTo>
                    <a:lnTo>
                      <a:pt x="64615" y="3726"/>
                    </a:lnTo>
                    <a:lnTo>
                      <a:pt x="63956" y="1490"/>
                    </a:lnTo>
                    <a:lnTo>
                      <a:pt x="61978" y="0"/>
                    </a:lnTo>
                    <a:lnTo>
                      <a:pt x="0" y="2236"/>
                    </a:lnTo>
                    <a:lnTo>
                      <a:pt x="0" y="35031"/>
                    </a:lnTo>
                    <a:lnTo>
                      <a:pt x="4615" y="39503"/>
                    </a:lnTo>
                    <a:lnTo>
                      <a:pt x="4615" y="40993"/>
                    </a:lnTo>
                    <a:lnTo>
                      <a:pt x="7252" y="47701"/>
                    </a:lnTo>
                    <a:lnTo>
                      <a:pt x="7912" y="49192"/>
                    </a:lnTo>
                    <a:lnTo>
                      <a:pt x="7912" y="53664"/>
                    </a:lnTo>
                    <a:lnTo>
                      <a:pt x="8571" y="55900"/>
                    </a:lnTo>
                    <a:lnTo>
                      <a:pt x="9890" y="61863"/>
                    </a:lnTo>
                    <a:lnTo>
                      <a:pt x="11208" y="66335"/>
                    </a:lnTo>
                    <a:lnTo>
                      <a:pt x="8571" y="70062"/>
                    </a:lnTo>
                    <a:lnTo>
                      <a:pt x="7252" y="76024"/>
                    </a:lnTo>
                    <a:lnTo>
                      <a:pt x="7252" y="78260"/>
                    </a:lnTo>
                    <a:lnTo>
                      <a:pt x="5934" y="81987"/>
                    </a:lnTo>
                    <a:lnTo>
                      <a:pt x="7912" y="87204"/>
                    </a:lnTo>
                    <a:lnTo>
                      <a:pt x="7912" y="90186"/>
                    </a:lnTo>
                    <a:lnTo>
                      <a:pt x="5934" y="97639"/>
                    </a:lnTo>
                    <a:lnTo>
                      <a:pt x="3956" y="101366"/>
                    </a:lnTo>
                    <a:lnTo>
                      <a:pt x="6593" y="101366"/>
                    </a:lnTo>
                    <a:lnTo>
                      <a:pt x="9890" y="101366"/>
                    </a:lnTo>
                    <a:lnTo>
                      <a:pt x="11868" y="99875"/>
                    </a:lnTo>
                    <a:lnTo>
                      <a:pt x="14505" y="99875"/>
                    </a:lnTo>
                    <a:lnTo>
                      <a:pt x="16483" y="99875"/>
                    </a:lnTo>
                    <a:lnTo>
                      <a:pt x="22417" y="101366"/>
                    </a:lnTo>
                    <a:lnTo>
                      <a:pt x="25714" y="102111"/>
                    </a:lnTo>
                    <a:lnTo>
                      <a:pt x="29010" y="103602"/>
                    </a:lnTo>
                    <a:lnTo>
                      <a:pt x="33626" y="105838"/>
                    </a:lnTo>
                    <a:lnTo>
                      <a:pt x="42197" y="105838"/>
                    </a:lnTo>
                    <a:lnTo>
                      <a:pt x="47472" y="105838"/>
                    </a:lnTo>
                    <a:lnTo>
                      <a:pt x="52087" y="105838"/>
                    </a:lnTo>
                    <a:lnTo>
                      <a:pt x="52747" y="105093"/>
                    </a:lnTo>
                    <a:lnTo>
                      <a:pt x="51428" y="102857"/>
                    </a:lnTo>
                    <a:lnTo>
                      <a:pt x="48131" y="102857"/>
                    </a:lnTo>
                    <a:lnTo>
                      <a:pt x="47472" y="102857"/>
                    </a:lnTo>
                    <a:lnTo>
                      <a:pt x="46153" y="102111"/>
                    </a:lnTo>
                    <a:lnTo>
                      <a:pt x="46813" y="99875"/>
                    </a:lnTo>
                    <a:lnTo>
                      <a:pt x="47472" y="98385"/>
                    </a:lnTo>
                    <a:lnTo>
                      <a:pt x="50769" y="98385"/>
                    </a:lnTo>
                    <a:lnTo>
                      <a:pt x="55384" y="100621"/>
                    </a:lnTo>
                    <a:lnTo>
                      <a:pt x="60000" y="105093"/>
                    </a:lnTo>
                    <a:lnTo>
                      <a:pt x="63956" y="105838"/>
                    </a:lnTo>
                    <a:lnTo>
                      <a:pt x="66593" y="104347"/>
                    </a:lnTo>
                    <a:lnTo>
                      <a:pt x="65934" y="107329"/>
                    </a:lnTo>
                    <a:lnTo>
                      <a:pt x="64615" y="111801"/>
                    </a:lnTo>
                    <a:lnTo>
                      <a:pt x="65934" y="114037"/>
                    </a:lnTo>
                    <a:lnTo>
                      <a:pt x="69890" y="115527"/>
                    </a:lnTo>
                    <a:lnTo>
                      <a:pt x="73186" y="115527"/>
                    </a:lnTo>
                    <a:lnTo>
                      <a:pt x="75824" y="117763"/>
                    </a:lnTo>
                    <a:lnTo>
                      <a:pt x="78461" y="117763"/>
                    </a:lnTo>
                    <a:lnTo>
                      <a:pt x="79780" y="114782"/>
                    </a:lnTo>
                    <a:lnTo>
                      <a:pt x="82417" y="111801"/>
                    </a:lnTo>
                    <a:lnTo>
                      <a:pt x="84395" y="111055"/>
                    </a:lnTo>
                    <a:lnTo>
                      <a:pt x="87032" y="111801"/>
                    </a:lnTo>
                    <a:lnTo>
                      <a:pt x="89670" y="115527"/>
                    </a:lnTo>
                    <a:lnTo>
                      <a:pt x="92307" y="115527"/>
                    </a:lnTo>
                    <a:lnTo>
                      <a:pt x="93626" y="114037"/>
                    </a:lnTo>
                    <a:lnTo>
                      <a:pt x="92307" y="108074"/>
                    </a:lnTo>
                    <a:lnTo>
                      <a:pt x="92307" y="106583"/>
                    </a:lnTo>
                    <a:lnTo>
                      <a:pt x="93626" y="105093"/>
                    </a:lnTo>
                    <a:lnTo>
                      <a:pt x="96263" y="105093"/>
                    </a:lnTo>
                    <a:lnTo>
                      <a:pt x="98901" y="106583"/>
                    </a:lnTo>
                    <a:lnTo>
                      <a:pt x="98901" y="109565"/>
                    </a:lnTo>
                    <a:lnTo>
                      <a:pt x="104175" y="110310"/>
                    </a:lnTo>
                    <a:lnTo>
                      <a:pt x="108791" y="112546"/>
                    </a:lnTo>
                    <a:lnTo>
                      <a:pt x="110769" y="114782"/>
                    </a:lnTo>
                    <a:lnTo>
                      <a:pt x="109450" y="117018"/>
                    </a:lnTo>
                    <a:lnTo>
                      <a:pt x="108791" y="120000"/>
                    </a:lnTo>
                    <a:lnTo>
                      <a:pt x="111428" y="120000"/>
                    </a:lnTo>
                    <a:lnTo>
                      <a:pt x="112747" y="117763"/>
                    </a:lnTo>
                    <a:lnTo>
                      <a:pt x="114065" y="116273"/>
                    </a:lnTo>
                    <a:lnTo>
                      <a:pt x="116043" y="117763"/>
                    </a:lnTo>
                    <a:lnTo>
                      <a:pt x="116043" y="119254"/>
                    </a:lnTo>
                    <a:lnTo>
                      <a:pt x="117362" y="117018"/>
                    </a:lnTo>
                    <a:lnTo>
                      <a:pt x="119340" y="114782"/>
                    </a:lnTo>
                    <a:lnTo>
                      <a:pt x="120000" y="114037"/>
                    </a:lnTo>
                    <a:lnTo>
                      <a:pt x="119340" y="111055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09" name="Shape 1415">
                <a:extLst>
                  <a:ext uri="{FF2B5EF4-FFF2-40B4-BE49-F238E27FC236}">
                    <a16:creationId xmlns:a16="http://schemas.microsoft.com/office/drawing/2014/main" id="{ABA81460-70E2-4967-815E-98722FB8D0F4}"/>
                  </a:ext>
                </a:extLst>
              </p:cNvPr>
              <p:cNvSpPr/>
              <p:nvPr/>
            </p:nvSpPr>
            <p:spPr>
              <a:xfrm>
                <a:off x="8365934" y="3833773"/>
                <a:ext cx="665701" cy="600514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4417" y="100408"/>
                    </a:moveTo>
                    <a:lnTo>
                      <a:pt x="2944" y="98775"/>
                    </a:lnTo>
                    <a:lnTo>
                      <a:pt x="5153" y="101224"/>
                    </a:lnTo>
                    <a:lnTo>
                      <a:pt x="7361" y="102040"/>
                    </a:lnTo>
                    <a:lnTo>
                      <a:pt x="8834" y="100408"/>
                    </a:lnTo>
                    <a:lnTo>
                      <a:pt x="16196" y="101224"/>
                    </a:lnTo>
                    <a:lnTo>
                      <a:pt x="16196" y="120000"/>
                    </a:lnTo>
                    <a:lnTo>
                      <a:pt x="85398" y="117551"/>
                    </a:lnTo>
                    <a:lnTo>
                      <a:pt x="86134" y="117551"/>
                    </a:lnTo>
                    <a:lnTo>
                      <a:pt x="87607" y="113469"/>
                    </a:lnTo>
                    <a:lnTo>
                      <a:pt x="88343" y="111020"/>
                    </a:lnTo>
                    <a:lnTo>
                      <a:pt x="87607" y="108571"/>
                    </a:lnTo>
                    <a:lnTo>
                      <a:pt x="87607" y="103673"/>
                    </a:lnTo>
                    <a:lnTo>
                      <a:pt x="87607" y="102040"/>
                    </a:lnTo>
                    <a:lnTo>
                      <a:pt x="86134" y="99591"/>
                    </a:lnTo>
                    <a:lnTo>
                      <a:pt x="85398" y="98775"/>
                    </a:lnTo>
                    <a:lnTo>
                      <a:pt x="85398" y="97142"/>
                    </a:lnTo>
                    <a:lnTo>
                      <a:pt x="86134" y="95510"/>
                    </a:lnTo>
                    <a:lnTo>
                      <a:pt x="85398" y="94693"/>
                    </a:lnTo>
                    <a:lnTo>
                      <a:pt x="86871" y="92244"/>
                    </a:lnTo>
                    <a:lnTo>
                      <a:pt x="89079" y="88979"/>
                    </a:lnTo>
                    <a:lnTo>
                      <a:pt x="89815" y="88979"/>
                    </a:lnTo>
                    <a:lnTo>
                      <a:pt x="89079" y="87346"/>
                    </a:lnTo>
                    <a:lnTo>
                      <a:pt x="90552" y="84081"/>
                    </a:lnTo>
                    <a:lnTo>
                      <a:pt x="92024" y="81632"/>
                    </a:lnTo>
                    <a:lnTo>
                      <a:pt x="90552" y="80816"/>
                    </a:lnTo>
                    <a:lnTo>
                      <a:pt x="91288" y="77551"/>
                    </a:lnTo>
                    <a:lnTo>
                      <a:pt x="93496" y="75102"/>
                    </a:lnTo>
                    <a:lnTo>
                      <a:pt x="97177" y="70204"/>
                    </a:lnTo>
                    <a:lnTo>
                      <a:pt x="99386" y="66122"/>
                    </a:lnTo>
                    <a:lnTo>
                      <a:pt x="99386" y="62857"/>
                    </a:lnTo>
                    <a:lnTo>
                      <a:pt x="100858" y="58775"/>
                    </a:lnTo>
                    <a:lnTo>
                      <a:pt x="101595" y="58775"/>
                    </a:lnTo>
                    <a:lnTo>
                      <a:pt x="103067" y="57142"/>
                    </a:lnTo>
                    <a:lnTo>
                      <a:pt x="103803" y="54693"/>
                    </a:lnTo>
                    <a:lnTo>
                      <a:pt x="105276" y="53061"/>
                    </a:lnTo>
                    <a:lnTo>
                      <a:pt x="108220" y="51428"/>
                    </a:lnTo>
                    <a:lnTo>
                      <a:pt x="107484" y="48979"/>
                    </a:lnTo>
                    <a:lnTo>
                      <a:pt x="108957" y="47346"/>
                    </a:lnTo>
                    <a:lnTo>
                      <a:pt x="110429" y="44081"/>
                    </a:lnTo>
                    <a:lnTo>
                      <a:pt x="110429" y="39183"/>
                    </a:lnTo>
                    <a:lnTo>
                      <a:pt x="110429" y="35102"/>
                    </a:lnTo>
                    <a:lnTo>
                      <a:pt x="112638" y="31836"/>
                    </a:lnTo>
                    <a:lnTo>
                      <a:pt x="114846" y="30204"/>
                    </a:lnTo>
                    <a:lnTo>
                      <a:pt x="114846" y="28571"/>
                    </a:lnTo>
                    <a:lnTo>
                      <a:pt x="115582" y="26938"/>
                    </a:lnTo>
                    <a:lnTo>
                      <a:pt x="115582" y="23673"/>
                    </a:lnTo>
                    <a:lnTo>
                      <a:pt x="117791" y="22857"/>
                    </a:lnTo>
                    <a:lnTo>
                      <a:pt x="118527" y="21224"/>
                    </a:lnTo>
                    <a:lnTo>
                      <a:pt x="119263" y="19591"/>
                    </a:lnTo>
                    <a:lnTo>
                      <a:pt x="120000" y="17959"/>
                    </a:lnTo>
                    <a:lnTo>
                      <a:pt x="120000" y="15510"/>
                    </a:lnTo>
                    <a:lnTo>
                      <a:pt x="101595" y="16326"/>
                    </a:lnTo>
                    <a:lnTo>
                      <a:pt x="108957" y="4081"/>
                    </a:lnTo>
                    <a:lnTo>
                      <a:pt x="108220" y="0"/>
                    </a:lnTo>
                    <a:lnTo>
                      <a:pt x="0" y="3265"/>
                    </a:lnTo>
                    <a:lnTo>
                      <a:pt x="5153" y="38367"/>
                    </a:lnTo>
                    <a:lnTo>
                      <a:pt x="4417" y="100408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10" name="Shape 1416">
                <a:extLst>
                  <a:ext uri="{FF2B5EF4-FFF2-40B4-BE49-F238E27FC236}">
                    <a16:creationId xmlns:a16="http://schemas.microsoft.com/office/drawing/2014/main" id="{F571FE8B-5B16-4285-9733-0381627D5D78}"/>
                  </a:ext>
                </a:extLst>
              </p:cNvPr>
              <p:cNvSpPr/>
              <p:nvPr/>
            </p:nvSpPr>
            <p:spPr>
              <a:xfrm>
                <a:off x="8962212" y="3711220"/>
                <a:ext cx="1127201" cy="367657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71042" y="15700"/>
                    </a:moveTo>
                    <a:cubicBezTo>
                      <a:pt x="30552" y="23551"/>
                      <a:pt x="30552" y="23551"/>
                      <a:pt x="30552" y="23551"/>
                    </a:cubicBezTo>
                    <a:cubicBezTo>
                      <a:pt x="31288" y="34766"/>
                      <a:pt x="31288" y="34766"/>
                      <a:pt x="31288" y="34766"/>
                    </a:cubicBezTo>
                    <a:cubicBezTo>
                      <a:pt x="9570" y="35887"/>
                      <a:pt x="9570" y="35887"/>
                      <a:pt x="9570" y="35887"/>
                    </a:cubicBezTo>
                    <a:cubicBezTo>
                      <a:pt x="8834" y="37009"/>
                      <a:pt x="8834" y="37009"/>
                      <a:pt x="8834" y="37009"/>
                    </a:cubicBezTo>
                    <a:cubicBezTo>
                      <a:pt x="8834" y="40373"/>
                      <a:pt x="8834" y="40373"/>
                      <a:pt x="8834" y="40373"/>
                    </a:cubicBezTo>
                    <a:cubicBezTo>
                      <a:pt x="8834" y="43738"/>
                      <a:pt x="8834" y="43738"/>
                      <a:pt x="8834" y="43738"/>
                    </a:cubicBezTo>
                    <a:cubicBezTo>
                      <a:pt x="8466" y="47102"/>
                      <a:pt x="8466" y="47102"/>
                      <a:pt x="8466" y="47102"/>
                    </a:cubicBezTo>
                    <a:cubicBezTo>
                      <a:pt x="7730" y="48224"/>
                      <a:pt x="7730" y="48224"/>
                      <a:pt x="7730" y="48224"/>
                    </a:cubicBezTo>
                    <a:cubicBezTo>
                      <a:pt x="7361" y="50467"/>
                      <a:pt x="7361" y="50467"/>
                      <a:pt x="7361" y="50467"/>
                    </a:cubicBezTo>
                    <a:cubicBezTo>
                      <a:pt x="7730" y="51588"/>
                      <a:pt x="7730" y="51588"/>
                      <a:pt x="7730" y="51588"/>
                    </a:cubicBezTo>
                    <a:cubicBezTo>
                      <a:pt x="7730" y="51588"/>
                      <a:pt x="8466" y="54953"/>
                      <a:pt x="8466" y="56074"/>
                    </a:cubicBezTo>
                    <a:cubicBezTo>
                      <a:pt x="8834" y="57196"/>
                      <a:pt x="8098" y="58317"/>
                      <a:pt x="8098" y="58317"/>
                    </a:cubicBezTo>
                    <a:cubicBezTo>
                      <a:pt x="7361" y="61682"/>
                      <a:pt x="7361" y="61682"/>
                      <a:pt x="7361" y="61682"/>
                    </a:cubicBezTo>
                    <a:cubicBezTo>
                      <a:pt x="6993" y="65046"/>
                      <a:pt x="6993" y="65046"/>
                      <a:pt x="6993" y="65046"/>
                    </a:cubicBezTo>
                    <a:cubicBezTo>
                      <a:pt x="7361" y="65046"/>
                      <a:pt x="7361" y="65046"/>
                      <a:pt x="7361" y="65046"/>
                    </a:cubicBezTo>
                    <a:cubicBezTo>
                      <a:pt x="7361" y="69532"/>
                      <a:pt x="7361" y="69532"/>
                      <a:pt x="7361" y="69532"/>
                    </a:cubicBezTo>
                    <a:cubicBezTo>
                      <a:pt x="6993" y="71775"/>
                      <a:pt x="6993" y="71775"/>
                      <a:pt x="6993" y="71775"/>
                    </a:cubicBezTo>
                    <a:cubicBezTo>
                      <a:pt x="6625" y="74018"/>
                      <a:pt x="6625" y="74018"/>
                      <a:pt x="6625" y="74018"/>
                    </a:cubicBezTo>
                    <a:cubicBezTo>
                      <a:pt x="5889" y="77383"/>
                      <a:pt x="5889" y="77383"/>
                      <a:pt x="5889" y="77383"/>
                    </a:cubicBezTo>
                    <a:cubicBezTo>
                      <a:pt x="4785" y="78504"/>
                      <a:pt x="4785" y="78504"/>
                      <a:pt x="4785" y="78504"/>
                    </a:cubicBezTo>
                    <a:cubicBezTo>
                      <a:pt x="4785" y="84112"/>
                      <a:pt x="4785" y="84112"/>
                      <a:pt x="4785" y="84112"/>
                    </a:cubicBezTo>
                    <a:cubicBezTo>
                      <a:pt x="4417" y="86355"/>
                      <a:pt x="4417" y="86355"/>
                      <a:pt x="4417" y="86355"/>
                    </a:cubicBezTo>
                    <a:cubicBezTo>
                      <a:pt x="4417" y="88598"/>
                      <a:pt x="4417" y="88598"/>
                      <a:pt x="4417" y="88598"/>
                    </a:cubicBezTo>
                    <a:cubicBezTo>
                      <a:pt x="2944" y="91962"/>
                      <a:pt x="2944" y="91962"/>
                      <a:pt x="2944" y="91962"/>
                    </a:cubicBezTo>
                    <a:cubicBezTo>
                      <a:pt x="1840" y="97570"/>
                      <a:pt x="1840" y="97570"/>
                      <a:pt x="1840" y="97570"/>
                    </a:cubicBezTo>
                    <a:cubicBezTo>
                      <a:pt x="1840" y="103177"/>
                      <a:pt x="1840" y="103177"/>
                      <a:pt x="1840" y="103177"/>
                    </a:cubicBezTo>
                    <a:cubicBezTo>
                      <a:pt x="1840" y="111028"/>
                      <a:pt x="1840" y="111028"/>
                      <a:pt x="1840" y="111028"/>
                    </a:cubicBezTo>
                    <a:cubicBezTo>
                      <a:pt x="736" y="116635"/>
                      <a:pt x="736" y="116635"/>
                      <a:pt x="736" y="116635"/>
                    </a:cubicBezTo>
                    <a:cubicBezTo>
                      <a:pt x="0" y="120000"/>
                      <a:pt x="0" y="120000"/>
                      <a:pt x="0" y="120000"/>
                    </a:cubicBezTo>
                    <a:cubicBezTo>
                      <a:pt x="0" y="120000"/>
                      <a:pt x="0" y="120000"/>
                      <a:pt x="0" y="120000"/>
                    </a:cubicBezTo>
                    <a:cubicBezTo>
                      <a:pt x="85398" y="99813"/>
                      <a:pt x="85398" y="99813"/>
                      <a:pt x="85398" y="99813"/>
                    </a:cubicBezTo>
                    <a:cubicBezTo>
                      <a:pt x="85398" y="99813"/>
                      <a:pt x="85398" y="99813"/>
                      <a:pt x="85398" y="99813"/>
                    </a:cubicBezTo>
                    <a:cubicBezTo>
                      <a:pt x="85398" y="98691"/>
                      <a:pt x="85398" y="98691"/>
                      <a:pt x="85398" y="98691"/>
                    </a:cubicBezTo>
                    <a:cubicBezTo>
                      <a:pt x="85766" y="91962"/>
                      <a:pt x="85766" y="91962"/>
                      <a:pt x="85766" y="91962"/>
                    </a:cubicBezTo>
                    <a:cubicBezTo>
                      <a:pt x="85766" y="88598"/>
                      <a:pt x="85766" y="88598"/>
                      <a:pt x="85766" y="88598"/>
                    </a:cubicBezTo>
                    <a:cubicBezTo>
                      <a:pt x="87239" y="84112"/>
                      <a:pt x="87239" y="84112"/>
                      <a:pt x="87239" y="84112"/>
                    </a:cubicBezTo>
                    <a:cubicBezTo>
                      <a:pt x="88343" y="84112"/>
                      <a:pt x="88343" y="84112"/>
                      <a:pt x="88343" y="84112"/>
                    </a:cubicBezTo>
                    <a:cubicBezTo>
                      <a:pt x="89815" y="80747"/>
                      <a:pt x="89815" y="80747"/>
                      <a:pt x="89815" y="80747"/>
                    </a:cubicBezTo>
                    <a:cubicBezTo>
                      <a:pt x="89447" y="76261"/>
                      <a:pt x="89447" y="76261"/>
                      <a:pt x="89447" y="76261"/>
                    </a:cubicBezTo>
                    <a:cubicBezTo>
                      <a:pt x="90552" y="71775"/>
                      <a:pt x="90552" y="71775"/>
                      <a:pt x="90552" y="71775"/>
                    </a:cubicBezTo>
                    <a:cubicBezTo>
                      <a:pt x="103067" y="49345"/>
                      <a:pt x="103067" y="49345"/>
                      <a:pt x="103067" y="49345"/>
                    </a:cubicBezTo>
                    <a:cubicBezTo>
                      <a:pt x="104907" y="45981"/>
                      <a:pt x="104907" y="45981"/>
                      <a:pt x="104907" y="45981"/>
                    </a:cubicBezTo>
                    <a:cubicBezTo>
                      <a:pt x="105644" y="41495"/>
                      <a:pt x="105644" y="41495"/>
                      <a:pt x="105644" y="41495"/>
                    </a:cubicBezTo>
                    <a:cubicBezTo>
                      <a:pt x="107116" y="34766"/>
                      <a:pt x="107116" y="34766"/>
                      <a:pt x="107116" y="34766"/>
                    </a:cubicBezTo>
                    <a:cubicBezTo>
                      <a:pt x="108220" y="34766"/>
                      <a:pt x="108220" y="34766"/>
                      <a:pt x="108220" y="34766"/>
                    </a:cubicBezTo>
                    <a:cubicBezTo>
                      <a:pt x="109325" y="39252"/>
                      <a:pt x="109325" y="39252"/>
                      <a:pt x="109325" y="39252"/>
                    </a:cubicBezTo>
                    <a:cubicBezTo>
                      <a:pt x="110797" y="34766"/>
                      <a:pt x="110797" y="34766"/>
                      <a:pt x="110797" y="34766"/>
                    </a:cubicBezTo>
                    <a:cubicBezTo>
                      <a:pt x="112638" y="28037"/>
                      <a:pt x="112638" y="28037"/>
                      <a:pt x="112638" y="28037"/>
                    </a:cubicBezTo>
                    <a:cubicBezTo>
                      <a:pt x="116687" y="25794"/>
                      <a:pt x="116687" y="25794"/>
                      <a:pt x="116687" y="25794"/>
                    </a:cubicBezTo>
                    <a:cubicBezTo>
                      <a:pt x="117055" y="21308"/>
                      <a:pt x="117055" y="21308"/>
                      <a:pt x="117055" y="21308"/>
                    </a:cubicBezTo>
                    <a:cubicBezTo>
                      <a:pt x="118159" y="15700"/>
                      <a:pt x="118159" y="15700"/>
                      <a:pt x="118159" y="15700"/>
                    </a:cubicBezTo>
                    <a:cubicBezTo>
                      <a:pt x="119631" y="13457"/>
                      <a:pt x="119631" y="13457"/>
                      <a:pt x="119631" y="13457"/>
                    </a:cubicBezTo>
                    <a:cubicBezTo>
                      <a:pt x="120000" y="13457"/>
                      <a:pt x="120000" y="13457"/>
                      <a:pt x="120000" y="13457"/>
                    </a:cubicBezTo>
                    <a:cubicBezTo>
                      <a:pt x="120000" y="0"/>
                      <a:pt x="120000" y="0"/>
                      <a:pt x="120000" y="0"/>
                    </a:cubicBezTo>
                    <a:lnTo>
                      <a:pt x="71042" y="1570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11" name="Shape 1417">
                <a:extLst>
                  <a:ext uri="{FF2B5EF4-FFF2-40B4-BE49-F238E27FC236}">
                    <a16:creationId xmlns:a16="http://schemas.microsoft.com/office/drawing/2014/main" id="{A9778157-0C94-42E1-A106-285A077BCAF5}"/>
                  </a:ext>
                </a:extLst>
              </p:cNvPr>
              <p:cNvSpPr/>
              <p:nvPr/>
            </p:nvSpPr>
            <p:spPr>
              <a:xfrm>
                <a:off x="9762691" y="3588664"/>
                <a:ext cx="1127201" cy="498384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19263" y="28333"/>
                    </a:moveTo>
                    <a:cubicBezTo>
                      <a:pt x="118527" y="25833"/>
                      <a:pt x="118527" y="25833"/>
                      <a:pt x="118527" y="25833"/>
                    </a:cubicBezTo>
                    <a:cubicBezTo>
                      <a:pt x="117791" y="23333"/>
                      <a:pt x="117791" y="23333"/>
                      <a:pt x="117791" y="23333"/>
                    </a:cubicBezTo>
                    <a:cubicBezTo>
                      <a:pt x="116687" y="23333"/>
                      <a:pt x="116687" y="23333"/>
                      <a:pt x="116687" y="23333"/>
                    </a:cubicBezTo>
                    <a:cubicBezTo>
                      <a:pt x="116319" y="24166"/>
                      <a:pt x="116319" y="24166"/>
                      <a:pt x="116319" y="24166"/>
                    </a:cubicBezTo>
                    <a:cubicBezTo>
                      <a:pt x="115950" y="31666"/>
                      <a:pt x="115950" y="31666"/>
                      <a:pt x="115950" y="31666"/>
                    </a:cubicBezTo>
                    <a:cubicBezTo>
                      <a:pt x="115950" y="33333"/>
                      <a:pt x="115950" y="33333"/>
                      <a:pt x="115950" y="33333"/>
                    </a:cubicBezTo>
                    <a:cubicBezTo>
                      <a:pt x="114846" y="31666"/>
                      <a:pt x="114846" y="31666"/>
                      <a:pt x="114846" y="31666"/>
                    </a:cubicBezTo>
                    <a:cubicBezTo>
                      <a:pt x="114478" y="26666"/>
                      <a:pt x="114478" y="26666"/>
                      <a:pt x="114478" y="26666"/>
                    </a:cubicBezTo>
                    <a:cubicBezTo>
                      <a:pt x="113742" y="23333"/>
                      <a:pt x="113742" y="23333"/>
                      <a:pt x="113742" y="23333"/>
                    </a:cubicBezTo>
                    <a:cubicBezTo>
                      <a:pt x="112638" y="22500"/>
                      <a:pt x="112638" y="22500"/>
                      <a:pt x="112638" y="22500"/>
                    </a:cubicBezTo>
                    <a:cubicBezTo>
                      <a:pt x="110429" y="25000"/>
                      <a:pt x="110429" y="25000"/>
                      <a:pt x="110429" y="25000"/>
                    </a:cubicBezTo>
                    <a:cubicBezTo>
                      <a:pt x="109693" y="25000"/>
                      <a:pt x="109693" y="25000"/>
                      <a:pt x="109693" y="25000"/>
                    </a:cubicBezTo>
                    <a:cubicBezTo>
                      <a:pt x="107484" y="26666"/>
                      <a:pt x="107484" y="26666"/>
                      <a:pt x="107484" y="26666"/>
                    </a:cubicBezTo>
                    <a:cubicBezTo>
                      <a:pt x="106380" y="29166"/>
                      <a:pt x="106380" y="29166"/>
                      <a:pt x="106380" y="29166"/>
                    </a:cubicBezTo>
                    <a:cubicBezTo>
                      <a:pt x="105276" y="32500"/>
                      <a:pt x="105276" y="32500"/>
                      <a:pt x="105276" y="32500"/>
                    </a:cubicBezTo>
                    <a:cubicBezTo>
                      <a:pt x="104907" y="30833"/>
                      <a:pt x="104907" y="30833"/>
                      <a:pt x="104907" y="30833"/>
                    </a:cubicBezTo>
                    <a:cubicBezTo>
                      <a:pt x="104907" y="26666"/>
                      <a:pt x="104907" y="26666"/>
                      <a:pt x="104907" y="26666"/>
                    </a:cubicBezTo>
                    <a:cubicBezTo>
                      <a:pt x="104907" y="25000"/>
                      <a:pt x="104907" y="25000"/>
                      <a:pt x="104907" y="25000"/>
                    </a:cubicBezTo>
                    <a:cubicBezTo>
                      <a:pt x="104171" y="22500"/>
                      <a:pt x="104171" y="22500"/>
                      <a:pt x="104171" y="22500"/>
                    </a:cubicBezTo>
                    <a:cubicBezTo>
                      <a:pt x="103803" y="20833"/>
                      <a:pt x="103803" y="20833"/>
                      <a:pt x="103803" y="20833"/>
                    </a:cubicBezTo>
                    <a:cubicBezTo>
                      <a:pt x="103435" y="19166"/>
                      <a:pt x="103435" y="19166"/>
                      <a:pt x="103435" y="19166"/>
                    </a:cubicBezTo>
                    <a:cubicBezTo>
                      <a:pt x="103435" y="16666"/>
                      <a:pt x="103435" y="16666"/>
                      <a:pt x="103435" y="16666"/>
                    </a:cubicBezTo>
                    <a:cubicBezTo>
                      <a:pt x="103435" y="15000"/>
                      <a:pt x="103435" y="15000"/>
                      <a:pt x="103435" y="15000"/>
                    </a:cubicBezTo>
                    <a:cubicBezTo>
                      <a:pt x="104171" y="13333"/>
                      <a:pt x="104171" y="13333"/>
                      <a:pt x="104171" y="13333"/>
                    </a:cubicBezTo>
                    <a:cubicBezTo>
                      <a:pt x="104171" y="13333"/>
                      <a:pt x="104171" y="13333"/>
                      <a:pt x="104171" y="13333"/>
                    </a:cubicBezTo>
                    <a:cubicBezTo>
                      <a:pt x="104539" y="16666"/>
                      <a:pt x="104539" y="16666"/>
                      <a:pt x="104539" y="16666"/>
                    </a:cubicBezTo>
                    <a:cubicBezTo>
                      <a:pt x="104907" y="21666"/>
                      <a:pt x="104907" y="21666"/>
                      <a:pt x="104907" y="21666"/>
                    </a:cubicBezTo>
                    <a:cubicBezTo>
                      <a:pt x="105644" y="25833"/>
                      <a:pt x="105644" y="25833"/>
                      <a:pt x="105644" y="25833"/>
                    </a:cubicBezTo>
                    <a:cubicBezTo>
                      <a:pt x="106748" y="24166"/>
                      <a:pt x="106748" y="24166"/>
                      <a:pt x="106748" y="24166"/>
                    </a:cubicBezTo>
                    <a:cubicBezTo>
                      <a:pt x="107116" y="23333"/>
                      <a:pt x="107116" y="23333"/>
                      <a:pt x="107116" y="23333"/>
                    </a:cubicBezTo>
                    <a:cubicBezTo>
                      <a:pt x="108220" y="21666"/>
                      <a:pt x="108220" y="21666"/>
                      <a:pt x="108220" y="21666"/>
                    </a:cubicBezTo>
                    <a:cubicBezTo>
                      <a:pt x="108588" y="21666"/>
                      <a:pt x="108588" y="21666"/>
                      <a:pt x="108588" y="21666"/>
                    </a:cubicBezTo>
                    <a:cubicBezTo>
                      <a:pt x="110061" y="20000"/>
                      <a:pt x="110061" y="20000"/>
                      <a:pt x="110061" y="20000"/>
                    </a:cubicBezTo>
                    <a:cubicBezTo>
                      <a:pt x="110429" y="18333"/>
                      <a:pt x="110429" y="18333"/>
                      <a:pt x="110429" y="18333"/>
                    </a:cubicBezTo>
                    <a:cubicBezTo>
                      <a:pt x="112269" y="18333"/>
                      <a:pt x="112269" y="18333"/>
                      <a:pt x="112269" y="18333"/>
                    </a:cubicBezTo>
                    <a:cubicBezTo>
                      <a:pt x="112638" y="15833"/>
                      <a:pt x="112638" y="15833"/>
                      <a:pt x="112638" y="15833"/>
                    </a:cubicBezTo>
                    <a:cubicBezTo>
                      <a:pt x="113006" y="15000"/>
                      <a:pt x="113006" y="15000"/>
                      <a:pt x="113006" y="15000"/>
                    </a:cubicBezTo>
                    <a:cubicBezTo>
                      <a:pt x="113006" y="15000"/>
                      <a:pt x="112638" y="14166"/>
                      <a:pt x="112638" y="13333"/>
                    </a:cubicBezTo>
                    <a:cubicBezTo>
                      <a:pt x="112269" y="13333"/>
                      <a:pt x="112269" y="13333"/>
                      <a:pt x="112269" y="13333"/>
                    </a:cubicBezTo>
                    <a:cubicBezTo>
                      <a:pt x="111533" y="10833"/>
                      <a:pt x="111533" y="10833"/>
                      <a:pt x="111533" y="10833"/>
                    </a:cubicBezTo>
                    <a:cubicBezTo>
                      <a:pt x="111533" y="10000"/>
                      <a:pt x="111533" y="10000"/>
                      <a:pt x="111533" y="10000"/>
                    </a:cubicBezTo>
                    <a:cubicBezTo>
                      <a:pt x="111901" y="10000"/>
                      <a:pt x="111901" y="10000"/>
                      <a:pt x="111901" y="10000"/>
                    </a:cubicBezTo>
                    <a:cubicBezTo>
                      <a:pt x="113742" y="11666"/>
                      <a:pt x="113742" y="11666"/>
                      <a:pt x="113742" y="11666"/>
                    </a:cubicBezTo>
                    <a:cubicBezTo>
                      <a:pt x="114846" y="11666"/>
                      <a:pt x="114846" y="11666"/>
                      <a:pt x="114846" y="11666"/>
                    </a:cubicBezTo>
                    <a:cubicBezTo>
                      <a:pt x="114846" y="9166"/>
                      <a:pt x="114846" y="9166"/>
                      <a:pt x="114846" y="9166"/>
                    </a:cubicBezTo>
                    <a:cubicBezTo>
                      <a:pt x="113742" y="5833"/>
                      <a:pt x="113742" y="5833"/>
                      <a:pt x="113742" y="5833"/>
                    </a:cubicBezTo>
                    <a:cubicBezTo>
                      <a:pt x="113374" y="3333"/>
                      <a:pt x="113374" y="3333"/>
                      <a:pt x="113374" y="3333"/>
                    </a:cubicBezTo>
                    <a:cubicBezTo>
                      <a:pt x="112269" y="0"/>
                      <a:pt x="112269" y="0"/>
                      <a:pt x="112269" y="0"/>
                    </a:cubicBezTo>
                    <a:cubicBezTo>
                      <a:pt x="80245" y="15000"/>
                      <a:pt x="80245" y="15000"/>
                      <a:pt x="80245" y="15000"/>
                    </a:cubicBezTo>
                    <a:cubicBezTo>
                      <a:pt x="57055" y="23333"/>
                      <a:pt x="57055" y="23333"/>
                      <a:pt x="57055" y="23333"/>
                    </a:cubicBezTo>
                    <a:cubicBezTo>
                      <a:pt x="34601" y="29166"/>
                      <a:pt x="34601" y="29166"/>
                      <a:pt x="34601" y="29166"/>
                    </a:cubicBezTo>
                    <a:cubicBezTo>
                      <a:pt x="34601" y="39166"/>
                      <a:pt x="34601" y="39166"/>
                      <a:pt x="34601" y="39166"/>
                    </a:cubicBezTo>
                    <a:cubicBezTo>
                      <a:pt x="34233" y="39166"/>
                      <a:pt x="34233" y="39166"/>
                      <a:pt x="34233" y="39166"/>
                    </a:cubicBezTo>
                    <a:cubicBezTo>
                      <a:pt x="32760" y="40833"/>
                      <a:pt x="32760" y="40833"/>
                      <a:pt x="32760" y="40833"/>
                    </a:cubicBezTo>
                    <a:cubicBezTo>
                      <a:pt x="31656" y="45000"/>
                      <a:pt x="31656" y="45000"/>
                      <a:pt x="31656" y="45000"/>
                    </a:cubicBezTo>
                    <a:cubicBezTo>
                      <a:pt x="31288" y="48333"/>
                      <a:pt x="31288" y="48333"/>
                      <a:pt x="31288" y="48333"/>
                    </a:cubicBezTo>
                    <a:cubicBezTo>
                      <a:pt x="27239" y="50000"/>
                      <a:pt x="27239" y="50000"/>
                      <a:pt x="27239" y="50000"/>
                    </a:cubicBezTo>
                    <a:cubicBezTo>
                      <a:pt x="25398" y="55000"/>
                      <a:pt x="25398" y="55000"/>
                      <a:pt x="25398" y="55000"/>
                    </a:cubicBezTo>
                    <a:cubicBezTo>
                      <a:pt x="23926" y="58333"/>
                      <a:pt x="23926" y="58333"/>
                      <a:pt x="23926" y="58333"/>
                    </a:cubicBezTo>
                    <a:cubicBezTo>
                      <a:pt x="22822" y="55000"/>
                      <a:pt x="22822" y="55000"/>
                      <a:pt x="22822" y="55000"/>
                    </a:cubicBezTo>
                    <a:cubicBezTo>
                      <a:pt x="21717" y="55000"/>
                      <a:pt x="21717" y="55000"/>
                      <a:pt x="21717" y="55000"/>
                    </a:cubicBezTo>
                    <a:cubicBezTo>
                      <a:pt x="20245" y="60000"/>
                      <a:pt x="20245" y="60000"/>
                      <a:pt x="20245" y="60000"/>
                    </a:cubicBezTo>
                    <a:cubicBezTo>
                      <a:pt x="19509" y="63333"/>
                      <a:pt x="19509" y="63333"/>
                      <a:pt x="19509" y="63333"/>
                    </a:cubicBezTo>
                    <a:cubicBezTo>
                      <a:pt x="17668" y="65833"/>
                      <a:pt x="17668" y="65833"/>
                      <a:pt x="17668" y="65833"/>
                    </a:cubicBezTo>
                    <a:cubicBezTo>
                      <a:pt x="5153" y="82500"/>
                      <a:pt x="5153" y="82500"/>
                      <a:pt x="5153" y="82500"/>
                    </a:cubicBezTo>
                    <a:cubicBezTo>
                      <a:pt x="4049" y="85833"/>
                      <a:pt x="4049" y="85833"/>
                      <a:pt x="4049" y="85833"/>
                    </a:cubicBezTo>
                    <a:cubicBezTo>
                      <a:pt x="4417" y="89166"/>
                      <a:pt x="4417" y="89166"/>
                      <a:pt x="4417" y="89166"/>
                    </a:cubicBezTo>
                    <a:cubicBezTo>
                      <a:pt x="2944" y="91666"/>
                      <a:pt x="2944" y="91666"/>
                      <a:pt x="2944" y="91666"/>
                    </a:cubicBezTo>
                    <a:cubicBezTo>
                      <a:pt x="1840" y="91666"/>
                      <a:pt x="1840" y="91666"/>
                      <a:pt x="1840" y="91666"/>
                    </a:cubicBezTo>
                    <a:cubicBezTo>
                      <a:pt x="368" y="95000"/>
                      <a:pt x="368" y="95000"/>
                      <a:pt x="368" y="95000"/>
                    </a:cubicBezTo>
                    <a:cubicBezTo>
                      <a:pt x="368" y="97500"/>
                      <a:pt x="368" y="97500"/>
                      <a:pt x="368" y="97500"/>
                    </a:cubicBezTo>
                    <a:cubicBezTo>
                      <a:pt x="0" y="102500"/>
                      <a:pt x="0" y="102500"/>
                      <a:pt x="0" y="102500"/>
                    </a:cubicBezTo>
                    <a:cubicBezTo>
                      <a:pt x="0" y="103333"/>
                      <a:pt x="0" y="103333"/>
                      <a:pt x="0" y="103333"/>
                    </a:cubicBezTo>
                    <a:cubicBezTo>
                      <a:pt x="0" y="103333"/>
                      <a:pt x="0" y="103333"/>
                      <a:pt x="0" y="103333"/>
                    </a:cubicBezTo>
                    <a:cubicBezTo>
                      <a:pt x="20613" y="98333"/>
                      <a:pt x="20613" y="98333"/>
                      <a:pt x="20613" y="98333"/>
                    </a:cubicBezTo>
                    <a:cubicBezTo>
                      <a:pt x="26871" y="87500"/>
                      <a:pt x="26871" y="87500"/>
                      <a:pt x="26871" y="87500"/>
                    </a:cubicBezTo>
                    <a:cubicBezTo>
                      <a:pt x="30552" y="86666"/>
                      <a:pt x="30552" y="86666"/>
                      <a:pt x="30552" y="86666"/>
                    </a:cubicBezTo>
                    <a:cubicBezTo>
                      <a:pt x="33128" y="86666"/>
                      <a:pt x="33128" y="86666"/>
                      <a:pt x="33128" y="86666"/>
                    </a:cubicBezTo>
                    <a:cubicBezTo>
                      <a:pt x="37546" y="88333"/>
                      <a:pt x="37546" y="88333"/>
                      <a:pt x="37546" y="88333"/>
                    </a:cubicBezTo>
                    <a:cubicBezTo>
                      <a:pt x="39754" y="87500"/>
                      <a:pt x="39754" y="87500"/>
                      <a:pt x="39754" y="87500"/>
                    </a:cubicBezTo>
                    <a:cubicBezTo>
                      <a:pt x="40858" y="86666"/>
                      <a:pt x="40858" y="86666"/>
                      <a:pt x="40858" y="86666"/>
                    </a:cubicBezTo>
                    <a:cubicBezTo>
                      <a:pt x="42699" y="84166"/>
                      <a:pt x="42699" y="84166"/>
                      <a:pt x="42699" y="84166"/>
                    </a:cubicBezTo>
                    <a:cubicBezTo>
                      <a:pt x="45276" y="83333"/>
                      <a:pt x="45276" y="83333"/>
                      <a:pt x="45276" y="83333"/>
                    </a:cubicBezTo>
                    <a:cubicBezTo>
                      <a:pt x="48588" y="84166"/>
                      <a:pt x="48588" y="84166"/>
                      <a:pt x="48588" y="84166"/>
                    </a:cubicBezTo>
                    <a:cubicBezTo>
                      <a:pt x="50797" y="86666"/>
                      <a:pt x="50797" y="86666"/>
                      <a:pt x="50797" y="86666"/>
                    </a:cubicBezTo>
                    <a:cubicBezTo>
                      <a:pt x="52269" y="95000"/>
                      <a:pt x="52269" y="95000"/>
                      <a:pt x="52269" y="95000"/>
                    </a:cubicBezTo>
                    <a:cubicBezTo>
                      <a:pt x="66993" y="88333"/>
                      <a:pt x="66993" y="88333"/>
                      <a:pt x="66993" y="88333"/>
                    </a:cubicBezTo>
                    <a:cubicBezTo>
                      <a:pt x="86134" y="120000"/>
                      <a:pt x="86134" y="120000"/>
                      <a:pt x="86134" y="120000"/>
                    </a:cubicBezTo>
                    <a:cubicBezTo>
                      <a:pt x="89447" y="116666"/>
                      <a:pt x="89447" y="116666"/>
                      <a:pt x="89447" y="116666"/>
                    </a:cubicBezTo>
                    <a:cubicBezTo>
                      <a:pt x="90184" y="116666"/>
                      <a:pt x="90184" y="116666"/>
                      <a:pt x="90184" y="116666"/>
                    </a:cubicBezTo>
                    <a:cubicBezTo>
                      <a:pt x="93496" y="115833"/>
                      <a:pt x="93496" y="115833"/>
                      <a:pt x="93496" y="115833"/>
                    </a:cubicBezTo>
                    <a:cubicBezTo>
                      <a:pt x="94233" y="113333"/>
                      <a:pt x="94233" y="113333"/>
                      <a:pt x="94233" y="113333"/>
                    </a:cubicBezTo>
                    <a:cubicBezTo>
                      <a:pt x="95337" y="110833"/>
                      <a:pt x="95337" y="110833"/>
                      <a:pt x="95337" y="110833"/>
                    </a:cubicBezTo>
                    <a:cubicBezTo>
                      <a:pt x="95705" y="103333"/>
                      <a:pt x="95705" y="103333"/>
                      <a:pt x="95705" y="103333"/>
                    </a:cubicBezTo>
                    <a:cubicBezTo>
                      <a:pt x="96809" y="97500"/>
                      <a:pt x="96809" y="97500"/>
                      <a:pt x="96809" y="97500"/>
                    </a:cubicBezTo>
                    <a:cubicBezTo>
                      <a:pt x="98282" y="92500"/>
                      <a:pt x="98282" y="92500"/>
                      <a:pt x="98282" y="92500"/>
                    </a:cubicBezTo>
                    <a:cubicBezTo>
                      <a:pt x="99754" y="90000"/>
                      <a:pt x="99754" y="90000"/>
                      <a:pt x="99754" y="90000"/>
                    </a:cubicBezTo>
                    <a:cubicBezTo>
                      <a:pt x="99754" y="88333"/>
                      <a:pt x="99754" y="88333"/>
                      <a:pt x="99754" y="88333"/>
                    </a:cubicBezTo>
                    <a:cubicBezTo>
                      <a:pt x="99386" y="85833"/>
                      <a:pt x="99386" y="85833"/>
                      <a:pt x="99386" y="85833"/>
                    </a:cubicBezTo>
                    <a:cubicBezTo>
                      <a:pt x="99018" y="84166"/>
                      <a:pt x="99018" y="84166"/>
                      <a:pt x="99018" y="84166"/>
                    </a:cubicBezTo>
                    <a:cubicBezTo>
                      <a:pt x="99386" y="83333"/>
                      <a:pt x="99386" y="83333"/>
                      <a:pt x="99386" y="83333"/>
                    </a:cubicBezTo>
                    <a:cubicBezTo>
                      <a:pt x="99386" y="81666"/>
                      <a:pt x="99386" y="81666"/>
                      <a:pt x="99386" y="81666"/>
                    </a:cubicBezTo>
                    <a:cubicBezTo>
                      <a:pt x="99754" y="80833"/>
                      <a:pt x="99754" y="80833"/>
                      <a:pt x="99754" y="80833"/>
                    </a:cubicBezTo>
                    <a:cubicBezTo>
                      <a:pt x="100122" y="80833"/>
                      <a:pt x="100122" y="80833"/>
                      <a:pt x="100122" y="80833"/>
                    </a:cubicBezTo>
                    <a:cubicBezTo>
                      <a:pt x="100490" y="81666"/>
                      <a:pt x="100490" y="81666"/>
                      <a:pt x="100490" y="81666"/>
                    </a:cubicBezTo>
                    <a:cubicBezTo>
                      <a:pt x="100858" y="85000"/>
                      <a:pt x="100858" y="85000"/>
                      <a:pt x="100858" y="85000"/>
                    </a:cubicBezTo>
                    <a:cubicBezTo>
                      <a:pt x="102331" y="83333"/>
                      <a:pt x="102331" y="83333"/>
                      <a:pt x="102331" y="83333"/>
                    </a:cubicBezTo>
                    <a:cubicBezTo>
                      <a:pt x="103435" y="82500"/>
                      <a:pt x="103435" y="82500"/>
                      <a:pt x="103435" y="82500"/>
                    </a:cubicBezTo>
                    <a:cubicBezTo>
                      <a:pt x="103435" y="80833"/>
                      <a:pt x="103435" y="80833"/>
                      <a:pt x="103435" y="80833"/>
                    </a:cubicBezTo>
                    <a:cubicBezTo>
                      <a:pt x="103435" y="79166"/>
                      <a:pt x="103435" y="79166"/>
                      <a:pt x="103435" y="79166"/>
                    </a:cubicBezTo>
                    <a:cubicBezTo>
                      <a:pt x="104171" y="78333"/>
                      <a:pt x="104171" y="78333"/>
                      <a:pt x="104171" y="78333"/>
                    </a:cubicBezTo>
                    <a:cubicBezTo>
                      <a:pt x="104171" y="77500"/>
                      <a:pt x="104171" y="77500"/>
                      <a:pt x="104171" y="77500"/>
                    </a:cubicBezTo>
                    <a:cubicBezTo>
                      <a:pt x="104907" y="79166"/>
                      <a:pt x="104907" y="79166"/>
                      <a:pt x="104907" y="79166"/>
                    </a:cubicBezTo>
                    <a:cubicBezTo>
                      <a:pt x="106748" y="77500"/>
                      <a:pt x="106748" y="77500"/>
                      <a:pt x="106748" y="77500"/>
                    </a:cubicBezTo>
                    <a:cubicBezTo>
                      <a:pt x="108220" y="75833"/>
                      <a:pt x="108220" y="75833"/>
                      <a:pt x="108220" y="75833"/>
                    </a:cubicBezTo>
                    <a:cubicBezTo>
                      <a:pt x="108957" y="75833"/>
                      <a:pt x="108957" y="75833"/>
                      <a:pt x="108957" y="75833"/>
                    </a:cubicBezTo>
                    <a:cubicBezTo>
                      <a:pt x="110061" y="74166"/>
                      <a:pt x="110061" y="74166"/>
                      <a:pt x="110061" y="74166"/>
                    </a:cubicBezTo>
                    <a:cubicBezTo>
                      <a:pt x="110797" y="73333"/>
                      <a:pt x="110797" y="73333"/>
                      <a:pt x="110797" y="73333"/>
                    </a:cubicBezTo>
                    <a:cubicBezTo>
                      <a:pt x="110797" y="72500"/>
                      <a:pt x="110797" y="72500"/>
                      <a:pt x="110797" y="72500"/>
                    </a:cubicBezTo>
                    <a:cubicBezTo>
                      <a:pt x="112269" y="75000"/>
                      <a:pt x="112269" y="75000"/>
                      <a:pt x="112269" y="75000"/>
                    </a:cubicBezTo>
                    <a:cubicBezTo>
                      <a:pt x="113006" y="71666"/>
                      <a:pt x="113006" y="71666"/>
                      <a:pt x="113006" y="71666"/>
                    </a:cubicBezTo>
                    <a:cubicBezTo>
                      <a:pt x="113374" y="67500"/>
                      <a:pt x="113374" y="67500"/>
                      <a:pt x="113374" y="67500"/>
                    </a:cubicBezTo>
                    <a:cubicBezTo>
                      <a:pt x="113742" y="65833"/>
                      <a:pt x="113742" y="65833"/>
                      <a:pt x="113742" y="65833"/>
                    </a:cubicBezTo>
                    <a:cubicBezTo>
                      <a:pt x="114110" y="64166"/>
                      <a:pt x="114110" y="64166"/>
                      <a:pt x="114110" y="64166"/>
                    </a:cubicBezTo>
                    <a:cubicBezTo>
                      <a:pt x="114110" y="64166"/>
                      <a:pt x="113742" y="61666"/>
                      <a:pt x="113374" y="62500"/>
                    </a:cubicBezTo>
                    <a:cubicBezTo>
                      <a:pt x="113006" y="62500"/>
                      <a:pt x="111901" y="63333"/>
                      <a:pt x="111901" y="63333"/>
                    </a:cubicBezTo>
                    <a:cubicBezTo>
                      <a:pt x="111533" y="65000"/>
                      <a:pt x="111533" y="65000"/>
                      <a:pt x="111533" y="65000"/>
                    </a:cubicBezTo>
                    <a:cubicBezTo>
                      <a:pt x="110797" y="65000"/>
                      <a:pt x="110797" y="65000"/>
                      <a:pt x="110797" y="65000"/>
                    </a:cubicBezTo>
                    <a:cubicBezTo>
                      <a:pt x="110061" y="66666"/>
                      <a:pt x="110061" y="66666"/>
                      <a:pt x="110061" y="66666"/>
                    </a:cubicBezTo>
                    <a:cubicBezTo>
                      <a:pt x="108220" y="69166"/>
                      <a:pt x="108220" y="69166"/>
                      <a:pt x="108220" y="69166"/>
                    </a:cubicBezTo>
                    <a:cubicBezTo>
                      <a:pt x="107116" y="69166"/>
                      <a:pt x="107116" y="69166"/>
                      <a:pt x="107116" y="69166"/>
                    </a:cubicBezTo>
                    <a:cubicBezTo>
                      <a:pt x="104171" y="67500"/>
                      <a:pt x="104171" y="67500"/>
                      <a:pt x="104171" y="67500"/>
                    </a:cubicBezTo>
                    <a:cubicBezTo>
                      <a:pt x="104171" y="65833"/>
                      <a:pt x="104171" y="65833"/>
                      <a:pt x="104171" y="65833"/>
                    </a:cubicBezTo>
                    <a:cubicBezTo>
                      <a:pt x="104171" y="64166"/>
                      <a:pt x="104171" y="64166"/>
                      <a:pt x="104171" y="64166"/>
                    </a:cubicBezTo>
                    <a:cubicBezTo>
                      <a:pt x="104539" y="63333"/>
                      <a:pt x="104539" y="63333"/>
                      <a:pt x="104539" y="63333"/>
                    </a:cubicBezTo>
                    <a:cubicBezTo>
                      <a:pt x="105276" y="63333"/>
                      <a:pt x="105276" y="63333"/>
                      <a:pt x="105276" y="63333"/>
                    </a:cubicBezTo>
                    <a:cubicBezTo>
                      <a:pt x="106012" y="64166"/>
                      <a:pt x="106012" y="64166"/>
                      <a:pt x="106012" y="64166"/>
                    </a:cubicBezTo>
                    <a:cubicBezTo>
                      <a:pt x="107852" y="64166"/>
                      <a:pt x="107852" y="64166"/>
                      <a:pt x="107852" y="64166"/>
                    </a:cubicBezTo>
                    <a:cubicBezTo>
                      <a:pt x="108957" y="62500"/>
                      <a:pt x="108957" y="62500"/>
                      <a:pt x="108957" y="62500"/>
                    </a:cubicBezTo>
                    <a:cubicBezTo>
                      <a:pt x="108957" y="60833"/>
                      <a:pt x="108957" y="60833"/>
                      <a:pt x="108957" y="60833"/>
                    </a:cubicBezTo>
                    <a:cubicBezTo>
                      <a:pt x="108588" y="59166"/>
                      <a:pt x="108588" y="59166"/>
                      <a:pt x="108588" y="59166"/>
                    </a:cubicBezTo>
                    <a:cubicBezTo>
                      <a:pt x="108957" y="56666"/>
                      <a:pt x="108957" y="56666"/>
                      <a:pt x="108957" y="56666"/>
                    </a:cubicBezTo>
                    <a:cubicBezTo>
                      <a:pt x="109325" y="56666"/>
                      <a:pt x="109325" y="56666"/>
                      <a:pt x="109325" y="56666"/>
                    </a:cubicBezTo>
                    <a:cubicBezTo>
                      <a:pt x="110061" y="55000"/>
                      <a:pt x="110061" y="55000"/>
                      <a:pt x="110061" y="55000"/>
                    </a:cubicBezTo>
                    <a:cubicBezTo>
                      <a:pt x="110061" y="53333"/>
                      <a:pt x="110061" y="53333"/>
                      <a:pt x="110061" y="53333"/>
                    </a:cubicBezTo>
                    <a:cubicBezTo>
                      <a:pt x="108957" y="53333"/>
                      <a:pt x="108957" y="53333"/>
                      <a:pt x="108957" y="53333"/>
                    </a:cubicBezTo>
                    <a:cubicBezTo>
                      <a:pt x="106748" y="50833"/>
                      <a:pt x="106748" y="50833"/>
                      <a:pt x="106748" y="50833"/>
                    </a:cubicBezTo>
                    <a:cubicBezTo>
                      <a:pt x="104171" y="50000"/>
                      <a:pt x="104171" y="50000"/>
                      <a:pt x="104171" y="50000"/>
                    </a:cubicBezTo>
                    <a:cubicBezTo>
                      <a:pt x="103067" y="48333"/>
                      <a:pt x="103067" y="48333"/>
                      <a:pt x="103067" y="48333"/>
                    </a:cubicBezTo>
                    <a:cubicBezTo>
                      <a:pt x="103067" y="47500"/>
                      <a:pt x="103067" y="47500"/>
                      <a:pt x="103067" y="47500"/>
                    </a:cubicBezTo>
                    <a:cubicBezTo>
                      <a:pt x="104539" y="47500"/>
                      <a:pt x="104539" y="47500"/>
                      <a:pt x="104539" y="47500"/>
                    </a:cubicBezTo>
                    <a:cubicBezTo>
                      <a:pt x="106748" y="47500"/>
                      <a:pt x="106748" y="47500"/>
                      <a:pt x="106748" y="47500"/>
                    </a:cubicBezTo>
                    <a:cubicBezTo>
                      <a:pt x="108220" y="49166"/>
                      <a:pt x="108220" y="49166"/>
                      <a:pt x="108220" y="49166"/>
                    </a:cubicBezTo>
                    <a:cubicBezTo>
                      <a:pt x="108588" y="47500"/>
                      <a:pt x="108588" y="47500"/>
                      <a:pt x="108588" y="47500"/>
                    </a:cubicBezTo>
                    <a:cubicBezTo>
                      <a:pt x="108220" y="45833"/>
                      <a:pt x="108220" y="45833"/>
                      <a:pt x="108220" y="45833"/>
                    </a:cubicBezTo>
                    <a:cubicBezTo>
                      <a:pt x="107852" y="45000"/>
                      <a:pt x="107852" y="45000"/>
                      <a:pt x="107852" y="45000"/>
                    </a:cubicBezTo>
                    <a:cubicBezTo>
                      <a:pt x="107484" y="43333"/>
                      <a:pt x="107484" y="43333"/>
                      <a:pt x="107484" y="43333"/>
                    </a:cubicBezTo>
                    <a:cubicBezTo>
                      <a:pt x="108220" y="42500"/>
                      <a:pt x="108220" y="42500"/>
                      <a:pt x="108220" y="42500"/>
                    </a:cubicBezTo>
                    <a:cubicBezTo>
                      <a:pt x="109325" y="42500"/>
                      <a:pt x="109325" y="42500"/>
                      <a:pt x="109325" y="42500"/>
                    </a:cubicBezTo>
                    <a:cubicBezTo>
                      <a:pt x="109693" y="46666"/>
                      <a:pt x="109693" y="46666"/>
                      <a:pt x="109693" y="46666"/>
                    </a:cubicBezTo>
                    <a:cubicBezTo>
                      <a:pt x="110429" y="48333"/>
                      <a:pt x="110429" y="48333"/>
                      <a:pt x="110429" y="48333"/>
                    </a:cubicBezTo>
                    <a:cubicBezTo>
                      <a:pt x="111533" y="48333"/>
                      <a:pt x="111533" y="48333"/>
                      <a:pt x="111533" y="48333"/>
                    </a:cubicBezTo>
                    <a:cubicBezTo>
                      <a:pt x="111901" y="47500"/>
                      <a:pt x="111901" y="47500"/>
                      <a:pt x="111901" y="47500"/>
                    </a:cubicBezTo>
                    <a:cubicBezTo>
                      <a:pt x="112638" y="48333"/>
                      <a:pt x="112638" y="48333"/>
                      <a:pt x="112638" y="48333"/>
                    </a:cubicBezTo>
                    <a:cubicBezTo>
                      <a:pt x="114110" y="48333"/>
                      <a:pt x="114110" y="48333"/>
                      <a:pt x="114110" y="48333"/>
                    </a:cubicBezTo>
                    <a:cubicBezTo>
                      <a:pt x="116319" y="48333"/>
                      <a:pt x="116319" y="48333"/>
                      <a:pt x="116319" y="48333"/>
                    </a:cubicBezTo>
                    <a:cubicBezTo>
                      <a:pt x="116687" y="47500"/>
                      <a:pt x="116687" y="47500"/>
                      <a:pt x="116687" y="47500"/>
                    </a:cubicBezTo>
                    <a:cubicBezTo>
                      <a:pt x="116687" y="44166"/>
                      <a:pt x="116687" y="44166"/>
                      <a:pt x="116687" y="44166"/>
                    </a:cubicBezTo>
                    <a:cubicBezTo>
                      <a:pt x="117055" y="42500"/>
                      <a:pt x="117055" y="42500"/>
                      <a:pt x="117055" y="42500"/>
                    </a:cubicBezTo>
                    <a:cubicBezTo>
                      <a:pt x="117423" y="40000"/>
                      <a:pt x="117423" y="40000"/>
                      <a:pt x="117423" y="40000"/>
                    </a:cubicBezTo>
                    <a:cubicBezTo>
                      <a:pt x="117423" y="38333"/>
                      <a:pt x="117423" y="38333"/>
                      <a:pt x="117423" y="38333"/>
                    </a:cubicBezTo>
                    <a:cubicBezTo>
                      <a:pt x="117791" y="35000"/>
                      <a:pt x="117791" y="35000"/>
                      <a:pt x="117791" y="35000"/>
                    </a:cubicBezTo>
                    <a:cubicBezTo>
                      <a:pt x="118527" y="35000"/>
                      <a:pt x="118527" y="35000"/>
                      <a:pt x="118527" y="35000"/>
                    </a:cubicBezTo>
                    <a:cubicBezTo>
                      <a:pt x="118895" y="36666"/>
                      <a:pt x="118895" y="36666"/>
                      <a:pt x="118895" y="36666"/>
                    </a:cubicBezTo>
                    <a:cubicBezTo>
                      <a:pt x="119631" y="35000"/>
                      <a:pt x="119631" y="35000"/>
                      <a:pt x="119631" y="35000"/>
                    </a:cubicBezTo>
                    <a:cubicBezTo>
                      <a:pt x="119631" y="32500"/>
                      <a:pt x="119631" y="32500"/>
                      <a:pt x="119631" y="32500"/>
                    </a:cubicBezTo>
                    <a:cubicBezTo>
                      <a:pt x="120000" y="30833"/>
                      <a:pt x="120000" y="30833"/>
                      <a:pt x="120000" y="30833"/>
                    </a:cubicBezTo>
                    <a:lnTo>
                      <a:pt x="119263" y="28333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12" name="Shape 1418">
                <a:extLst>
                  <a:ext uri="{FF2B5EF4-FFF2-40B4-BE49-F238E27FC236}">
                    <a16:creationId xmlns:a16="http://schemas.microsoft.com/office/drawing/2014/main" id="{4B654F7D-23BE-473C-B538-2D90B06D24D6}"/>
                  </a:ext>
                </a:extLst>
              </p:cNvPr>
              <p:cNvSpPr/>
              <p:nvPr/>
            </p:nvSpPr>
            <p:spPr>
              <a:xfrm>
                <a:off x="9599327" y="3997179"/>
                <a:ext cx="694289" cy="747579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18208" y="71111"/>
                    </a:moveTo>
                    <a:cubicBezTo>
                      <a:pt x="117014" y="70555"/>
                      <a:pt x="117014" y="70555"/>
                      <a:pt x="117014" y="70555"/>
                    </a:cubicBezTo>
                    <a:cubicBezTo>
                      <a:pt x="116417" y="68888"/>
                      <a:pt x="116417" y="68888"/>
                      <a:pt x="116417" y="68888"/>
                    </a:cubicBezTo>
                    <a:cubicBezTo>
                      <a:pt x="116417" y="66666"/>
                      <a:pt x="116417" y="66666"/>
                      <a:pt x="116417" y="66666"/>
                    </a:cubicBezTo>
                    <a:cubicBezTo>
                      <a:pt x="116417" y="66111"/>
                      <a:pt x="116417" y="66111"/>
                      <a:pt x="116417" y="66111"/>
                    </a:cubicBezTo>
                    <a:cubicBezTo>
                      <a:pt x="114029" y="63888"/>
                      <a:pt x="114029" y="63888"/>
                      <a:pt x="114029" y="63888"/>
                    </a:cubicBezTo>
                    <a:cubicBezTo>
                      <a:pt x="113432" y="62222"/>
                      <a:pt x="113432" y="62222"/>
                      <a:pt x="113432" y="62222"/>
                    </a:cubicBezTo>
                    <a:cubicBezTo>
                      <a:pt x="113432" y="61111"/>
                      <a:pt x="113432" y="61111"/>
                      <a:pt x="113432" y="61111"/>
                    </a:cubicBezTo>
                    <a:cubicBezTo>
                      <a:pt x="113432" y="60555"/>
                      <a:pt x="113432" y="60555"/>
                      <a:pt x="113432" y="60555"/>
                    </a:cubicBezTo>
                    <a:cubicBezTo>
                      <a:pt x="111641" y="59444"/>
                      <a:pt x="111641" y="59444"/>
                      <a:pt x="111641" y="59444"/>
                    </a:cubicBezTo>
                    <a:cubicBezTo>
                      <a:pt x="109850" y="58888"/>
                      <a:pt x="109850" y="58888"/>
                      <a:pt x="109850" y="58888"/>
                    </a:cubicBezTo>
                    <a:cubicBezTo>
                      <a:pt x="109253" y="58888"/>
                      <a:pt x="109253" y="58888"/>
                      <a:pt x="109253" y="58888"/>
                    </a:cubicBezTo>
                    <a:cubicBezTo>
                      <a:pt x="108656" y="57777"/>
                      <a:pt x="108656" y="57777"/>
                      <a:pt x="108656" y="57777"/>
                    </a:cubicBezTo>
                    <a:cubicBezTo>
                      <a:pt x="108059" y="56111"/>
                      <a:pt x="108059" y="56111"/>
                      <a:pt x="108059" y="56111"/>
                    </a:cubicBezTo>
                    <a:cubicBezTo>
                      <a:pt x="108059" y="55000"/>
                      <a:pt x="108059" y="55000"/>
                      <a:pt x="108059" y="55000"/>
                    </a:cubicBezTo>
                    <a:cubicBezTo>
                      <a:pt x="106865" y="53333"/>
                      <a:pt x="106865" y="53333"/>
                      <a:pt x="106865" y="53333"/>
                    </a:cubicBezTo>
                    <a:cubicBezTo>
                      <a:pt x="105074" y="50555"/>
                      <a:pt x="105074" y="50555"/>
                      <a:pt x="105074" y="50555"/>
                    </a:cubicBezTo>
                    <a:cubicBezTo>
                      <a:pt x="103880" y="49444"/>
                      <a:pt x="103880" y="49444"/>
                      <a:pt x="103880" y="49444"/>
                    </a:cubicBezTo>
                    <a:cubicBezTo>
                      <a:pt x="102089" y="48333"/>
                      <a:pt x="102089" y="48333"/>
                      <a:pt x="102089" y="48333"/>
                    </a:cubicBezTo>
                    <a:cubicBezTo>
                      <a:pt x="100298" y="46666"/>
                      <a:pt x="100298" y="46666"/>
                      <a:pt x="100298" y="46666"/>
                    </a:cubicBezTo>
                    <a:cubicBezTo>
                      <a:pt x="98507" y="45000"/>
                      <a:pt x="98507" y="45000"/>
                      <a:pt x="98507" y="45000"/>
                    </a:cubicBezTo>
                    <a:cubicBezTo>
                      <a:pt x="94328" y="43333"/>
                      <a:pt x="94328" y="43333"/>
                      <a:pt x="94328" y="43333"/>
                    </a:cubicBezTo>
                    <a:cubicBezTo>
                      <a:pt x="91343" y="39444"/>
                      <a:pt x="91343" y="39444"/>
                      <a:pt x="91343" y="39444"/>
                    </a:cubicBezTo>
                    <a:cubicBezTo>
                      <a:pt x="87761" y="35000"/>
                      <a:pt x="87761" y="35000"/>
                      <a:pt x="87761" y="35000"/>
                    </a:cubicBezTo>
                    <a:cubicBezTo>
                      <a:pt x="84776" y="32777"/>
                      <a:pt x="84776" y="32777"/>
                      <a:pt x="84776" y="32777"/>
                    </a:cubicBezTo>
                    <a:cubicBezTo>
                      <a:pt x="75223" y="25555"/>
                      <a:pt x="75223" y="25555"/>
                      <a:pt x="75223" y="25555"/>
                    </a:cubicBezTo>
                    <a:cubicBezTo>
                      <a:pt x="72238" y="22222"/>
                      <a:pt x="72238" y="22222"/>
                      <a:pt x="72238" y="22222"/>
                    </a:cubicBezTo>
                    <a:cubicBezTo>
                      <a:pt x="69253" y="19444"/>
                      <a:pt x="69253" y="19444"/>
                      <a:pt x="69253" y="19444"/>
                    </a:cubicBezTo>
                    <a:cubicBezTo>
                      <a:pt x="68059" y="17222"/>
                      <a:pt x="68059" y="17222"/>
                      <a:pt x="68059" y="17222"/>
                    </a:cubicBezTo>
                    <a:cubicBezTo>
                      <a:pt x="66268" y="15000"/>
                      <a:pt x="66268" y="15000"/>
                      <a:pt x="66268" y="15000"/>
                    </a:cubicBezTo>
                    <a:cubicBezTo>
                      <a:pt x="64477" y="13333"/>
                      <a:pt x="64477" y="13333"/>
                      <a:pt x="64477" y="13333"/>
                    </a:cubicBezTo>
                    <a:cubicBezTo>
                      <a:pt x="57313" y="10555"/>
                      <a:pt x="57313" y="10555"/>
                      <a:pt x="57313" y="10555"/>
                    </a:cubicBezTo>
                    <a:cubicBezTo>
                      <a:pt x="56119" y="8888"/>
                      <a:pt x="56119" y="8888"/>
                      <a:pt x="56119" y="8888"/>
                    </a:cubicBezTo>
                    <a:cubicBezTo>
                      <a:pt x="54925" y="7777"/>
                      <a:pt x="54925" y="7777"/>
                      <a:pt x="54925" y="7777"/>
                    </a:cubicBezTo>
                    <a:cubicBezTo>
                      <a:pt x="54925" y="6111"/>
                      <a:pt x="54925" y="6111"/>
                      <a:pt x="54925" y="6111"/>
                    </a:cubicBezTo>
                    <a:cubicBezTo>
                      <a:pt x="57910" y="4444"/>
                      <a:pt x="57910" y="4444"/>
                      <a:pt x="57910" y="4444"/>
                    </a:cubicBezTo>
                    <a:cubicBezTo>
                      <a:pt x="60298" y="2777"/>
                      <a:pt x="60298" y="2777"/>
                      <a:pt x="60298" y="2777"/>
                    </a:cubicBezTo>
                    <a:cubicBezTo>
                      <a:pt x="61492" y="2222"/>
                      <a:pt x="61492" y="2222"/>
                      <a:pt x="61492" y="2222"/>
                    </a:cubicBezTo>
                    <a:cubicBezTo>
                      <a:pt x="61492" y="1111"/>
                      <a:pt x="61492" y="1111"/>
                      <a:pt x="61492" y="1111"/>
                    </a:cubicBezTo>
                    <a:cubicBezTo>
                      <a:pt x="62089" y="0"/>
                      <a:pt x="62089" y="0"/>
                      <a:pt x="62089" y="0"/>
                    </a:cubicBezTo>
                    <a:cubicBezTo>
                      <a:pt x="62089" y="0"/>
                      <a:pt x="62089" y="0"/>
                      <a:pt x="62089" y="0"/>
                    </a:cubicBezTo>
                    <a:cubicBezTo>
                      <a:pt x="28656" y="3333"/>
                      <a:pt x="28656" y="3333"/>
                      <a:pt x="28656" y="3333"/>
                    </a:cubicBezTo>
                    <a:cubicBezTo>
                      <a:pt x="28656" y="3333"/>
                      <a:pt x="28656" y="3333"/>
                      <a:pt x="28656" y="3333"/>
                    </a:cubicBezTo>
                    <a:cubicBezTo>
                      <a:pt x="0" y="5555"/>
                      <a:pt x="0" y="5555"/>
                      <a:pt x="0" y="5555"/>
                    </a:cubicBezTo>
                    <a:cubicBezTo>
                      <a:pt x="1791" y="13333"/>
                      <a:pt x="1791" y="13333"/>
                      <a:pt x="1791" y="13333"/>
                    </a:cubicBezTo>
                    <a:cubicBezTo>
                      <a:pt x="6567" y="32222"/>
                      <a:pt x="6567" y="32222"/>
                      <a:pt x="6567" y="32222"/>
                    </a:cubicBezTo>
                    <a:cubicBezTo>
                      <a:pt x="13731" y="54444"/>
                      <a:pt x="13731" y="54444"/>
                      <a:pt x="13731" y="54444"/>
                    </a:cubicBezTo>
                    <a:cubicBezTo>
                      <a:pt x="14925" y="59444"/>
                      <a:pt x="14925" y="59444"/>
                      <a:pt x="14925" y="59444"/>
                    </a:cubicBezTo>
                    <a:cubicBezTo>
                      <a:pt x="19701" y="67777"/>
                      <a:pt x="19701" y="67777"/>
                      <a:pt x="19701" y="67777"/>
                    </a:cubicBezTo>
                    <a:cubicBezTo>
                      <a:pt x="22686" y="71111"/>
                      <a:pt x="22686" y="71111"/>
                      <a:pt x="22686" y="71111"/>
                    </a:cubicBezTo>
                    <a:cubicBezTo>
                      <a:pt x="22686" y="73333"/>
                      <a:pt x="22686" y="73333"/>
                      <a:pt x="22686" y="73333"/>
                    </a:cubicBezTo>
                    <a:cubicBezTo>
                      <a:pt x="23283" y="76111"/>
                      <a:pt x="23283" y="76111"/>
                      <a:pt x="23283" y="76111"/>
                    </a:cubicBezTo>
                    <a:cubicBezTo>
                      <a:pt x="25074" y="77222"/>
                      <a:pt x="25074" y="77222"/>
                      <a:pt x="25074" y="77222"/>
                    </a:cubicBezTo>
                    <a:cubicBezTo>
                      <a:pt x="23880" y="80000"/>
                      <a:pt x="23880" y="80000"/>
                      <a:pt x="23880" y="80000"/>
                    </a:cubicBezTo>
                    <a:cubicBezTo>
                      <a:pt x="20895" y="81666"/>
                      <a:pt x="20895" y="81666"/>
                      <a:pt x="20895" y="81666"/>
                    </a:cubicBezTo>
                    <a:cubicBezTo>
                      <a:pt x="23283" y="83333"/>
                      <a:pt x="23283" y="83333"/>
                      <a:pt x="23283" y="83333"/>
                    </a:cubicBezTo>
                    <a:cubicBezTo>
                      <a:pt x="22686" y="86111"/>
                      <a:pt x="22686" y="86111"/>
                      <a:pt x="22686" y="86111"/>
                    </a:cubicBezTo>
                    <a:cubicBezTo>
                      <a:pt x="20895" y="87222"/>
                      <a:pt x="20895" y="87222"/>
                      <a:pt x="20895" y="87222"/>
                    </a:cubicBezTo>
                    <a:cubicBezTo>
                      <a:pt x="20895" y="90555"/>
                      <a:pt x="20895" y="90555"/>
                      <a:pt x="20895" y="90555"/>
                    </a:cubicBezTo>
                    <a:cubicBezTo>
                      <a:pt x="22089" y="95555"/>
                      <a:pt x="22089" y="95555"/>
                      <a:pt x="22089" y="95555"/>
                    </a:cubicBezTo>
                    <a:cubicBezTo>
                      <a:pt x="23283" y="97777"/>
                      <a:pt x="23283" y="97777"/>
                      <a:pt x="23283" y="97777"/>
                    </a:cubicBezTo>
                    <a:cubicBezTo>
                      <a:pt x="23880" y="101111"/>
                      <a:pt x="23880" y="101111"/>
                      <a:pt x="23880" y="101111"/>
                    </a:cubicBezTo>
                    <a:cubicBezTo>
                      <a:pt x="22686" y="102222"/>
                      <a:pt x="22686" y="102222"/>
                      <a:pt x="22686" y="102222"/>
                    </a:cubicBezTo>
                    <a:cubicBezTo>
                      <a:pt x="22089" y="103333"/>
                      <a:pt x="22089" y="103333"/>
                      <a:pt x="22089" y="103333"/>
                    </a:cubicBezTo>
                    <a:cubicBezTo>
                      <a:pt x="23283" y="105555"/>
                      <a:pt x="23283" y="105555"/>
                      <a:pt x="23283" y="105555"/>
                    </a:cubicBezTo>
                    <a:cubicBezTo>
                      <a:pt x="24477" y="107222"/>
                      <a:pt x="24477" y="107222"/>
                      <a:pt x="24477" y="107222"/>
                    </a:cubicBezTo>
                    <a:cubicBezTo>
                      <a:pt x="26865" y="110555"/>
                      <a:pt x="26865" y="110555"/>
                      <a:pt x="26865" y="110555"/>
                    </a:cubicBezTo>
                    <a:cubicBezTo>
                      <a:pt x="27462" y="111666"/>
                      <a:pt x="27462" y="111666"/>
                      <a:pt x="27462" y="111666"/>
                    </a:cubicBezTo>
                    <a:cubicBezTo>
                      <a:pt x="31044" y="118333"/>
                      <a:pt x="31044" y="118333"/>
                      <a:pt x="31044" y="118333"/>
                    </a:cubicBezTo>
                    <a:cubicBezTo>
                      <a:pt x="95522" y="115000"/>
                      <a:pt x="95522" y="115000"/>
                      <a:pt x="95522" y="115000"/>
                    </a:cubicBezTo>
                    <a:cubicBezTo>
                      <a:pt x="96119" y="120000"/>
                      <a:pt x="96119" y="120000"/>
                      <a:pt x="96119" y="120000"/>
                    </a:cubicBezTo>
                    <a:cubicBezTo>
                      <a:pt x="100895" y="120000"/>
                      <a:pt x="100895" y="120000"/>
                      <a:pt x="100895" y="120000"/>
                    </a:cubicBezTo>
                    <a:cubicBezTo>
                      <a:pt x="99104" y="107222"/>
                      <a:pt x="99104" y="107222"/>
                      <a:pt x="99104" y="107222"/>
                    </a:cubicBezTo>
                    <a:cubicBezTo>
                      <a:pt x="99104" y="107222"/>
                      <a:pt x="99104" y="107222"/>
                      <a:pt x="99104" y="107222"/>
                    </a:cubicBezTo>
                    <a:cubicBezTo>
                      <a:pt x="103283" y="107777"/>
                      <a:pt x="103283" y="107777"/>
                      <a:pt x="103283" y="107777"/>
                    </a:cubicBezTo>
                    <a:cubicBezTo>
                      <a:pt x="109253" y="108888"/>
                      <a:pt x="109253" y="108888"/>
                      <a:pt x="109253" y="108888"/>
                    </a:cubicBezTo>
                    <a:cubicBezTo>
                      <a:pt x="109850" y="107222"/>
                      <a:pt x="109850" y="107222"/>
                      <a:pt x="109850" y="107222"/>
                    </a:cubicBezTo>
                    <a:cubicBezTo>
                      <a:pt x="109850" y="107222"/>
                      <a:pt x="110447" y="105000"/>
                      <a:pt x="110447" y="105000"/>
                    </a:cubicBezTo>
                    <a:cubicBezTo>
                      <a:pt x="110447" y="104444"/>
                      <a:pt x="109850" y="104444"/>
                      <a:pt x="109850" y="104444"/>
                    </a:cubicBezTo>
                    <a:cubicBezTo>
                      <a:pt x="109850" y="104444"/>
                      <a:pt x="109253" y="103888"/>
                      <a:pt x="108656" y="103888"/>
                    </a:cubicBezTo>
                    <a:cubicBezTo>
                      <a:pt x="108059" y="103333"/>
                      <a:pt x="108059" y="102777"/>
                      <a:pt x="107462" y="102222"/>
                    </a:cubicBezTo>
                    <a:cubicBezTo>
                      <a:pt x="106865" y="101666"/>
                      <a:pt x="107462" y="101666"/>
                      <a:pt x="107462" y="101666"/>
                    </a:cubicBezTo>
                    <a:cubicBezTo>
                      <a:pt x="108656" y="101666"/>
                      <a:pt x="108656" y="101666"/>
                      <a:pt x="108656" y="101666"/>
                    </a:cubicBezTo>
                    <a:cubicBezTo>
                      <a:pt x="110447" y="101666"/>
                      <a:pt x="110447" y="101666"/>
                      <a:pt x="110447" y="101666"/>
                    </a:cubicBezTo>
                    <a:cubicBezTo>
                      <a:pt x="110447" y="101666"/>
                      <a:pt x="109850" y="100555"/>
                      <a:pt x="109850" y="99444"/>
                    </a:cubicBezTo>
                    <a:cubicBezTo>
                      <a:pt x="109253" y="98333"/>
                      <a:pt x="109253" y="98333"/>
                      <a:pt x="109253" y="98333"/>
                    </a:cubicBezTo>
                    <a:cubicBezTo>
                      <a:pt x="111044" y="97777"/>
                      <a:pt x="111044" y="97777"/>
                      <a:pt x="111044" y="97777"/>
                    </a:cubicBezTo>
                    <a:cubicBezTo>
                      <a:pt x="112238" y="96666"/>
                      <a:pt x="112238" y="96666"/>
                      <a:pt x="112238" y="96666"/>
                    </a:cubicBezTo>
                    <a:cubicBezTo>
                      <a:pt x="113432" y="93888"/>
                      <a:pt x="113432" y="93888"/>
                      <a:pt x="113432" y="93888"/>
                    </a:cubicBezTo>
                    <a:cubicBezTo>
                      <a:pt x="111641" y="93333"/>
                      <a:pt x="111641" y="93333"/>
                      <a:pt x="111641" y="93333"/>
                    </a:cubicBezTo>
                    <a:cubicBezTo>
                      <a:pt x="111641" y="93333"/>
                      <a:pt x="111641" y="92777"/>
                      <a:pt x="111641" y="92777"/>
                    </a:cubicBezTo>
                    <a:cubicBezTo>
                      <a:pt x="111641" y="92222"/>
                      <a:pt x="112238" y="92222"/>
                      <a:pt x="112238" y="91666"/>
                    </a:cubicBezTo>
                    <a:cubicBezTo>
                      <a:pt x="112238" y="91666"/>
                      <a:pt x="112835" y="91111"/>
                      <a:pt x="112835" y="91111"/>
                    </a:cubicBezTo>
                    <a:cubicBezTo>
                      <a:pt x="112835" y="89444"/>
                      <a:pt x="112835" y="89444"/>
                      <a:pt x="112835" y="89444"/>
                    </a:cubicBezTo>
                    <a:cubicBezTo>
                      <a:pt x="112835" y="85555"/>
                      <a:pt x="112835" y="85555"/>
                      <a:pt x="112835" y="85555"/>
                    </a:cubicBezTo>
                    <a:cubicBezTo>
                      <a:pt x="112835" y="83888"/>
                      <a:pt x="112835" y="83888"/>
                      <a:pt x="112835" y="83888"/>
                    </a:cubicBezTo>
                    <a:cubicBezTo>
                      <a:pt x="112835" y="83888"/>
                      <a:pt x="114029" y="83888"/>
                      <a:pt x="114626" y="83888"/>
                    </a:cubicBezTo>
                    <a:cubicBezTo>
                      <a:pt x="114626" y="83888"/>
                      <a:pt x="115820" y="84444"/>
                      <a:pt x="115820" y="84444"/>
                    </a:cubicBezTo>
                    <a:cubicBezTo>
                      <a:pt x="115820" y="84444"/>
                      <a:pt x="116417" y="83888"/>
                      <a:pt x="116417" y="83333"/>
                    </a:cubicBezTo>
                    <a:cubicBezTo>
                      <a:pt x="116417" y="83333"/>
                      <a:pt x="116417" y="83333"/>
                      <a:pt x="115223" y="82777"/>
                    </a:cubicBezTo>
                    <a:cubicBezTo>
                      <a:pt x="114626" y="82222"/>
                      <a:pt x="113432" y="81666"/>
                      <a:pt x="113432" y="81666"/>
                    </a:cubicBezTo>
                    <a:cubicBezTo>
                      <a:pt x="113432" y="81111"/>
                      <a:pt x="112835" y="80000"/>
                      <a:pt x="112835" y="80000"/>
                    </a:cubicBezTo>
                    <a:cubicBezTo>
                      <a:pt x="114029" y="80000"/>
                      <a:pt x="114029" y="80000"/>
                      <a:pt x="114029" y="80000"/>
                    </a:cubicBezTo>
                    <a:cubicBezTo>
                      <a:pt x="117014" y="80000"/>
                      <a:pt x="117014" y="80000"/>
                      <a:pt x="117014" y="80000"/>
                    </a:cubicBezTo>
                    <a:cubicBezTo>
                      <a:pt x="117611" y="78333"/>
                      <a:pt x="117611" y="78333"/>
                      <a:pt x="117611" y="78333"/>
                    </a:cubicBezTo>
                    <a:cubicBezTo>
                      <a:pt x="117611" y="78333"/>
                      <a:pt x="115223" y="78333"/>
                      <a:pt x="115223" y="78333"/>
                    </a:cubicBezTo>
                    <a:cubicBezTo>
                      <a:pt x="115223" y="78333"/>
                      <a:pt x="114029" y="77222"/>
                      <a:pt x="114029" y="77222"/>
                    </a:cubicBezTo>
                    <a:cubicBezTo>
                      <a:pt x="114626" y="76111"/>
                      <a:pt x="114626" y="76111"/>
                      <a:pt x="114626" y="76111"/>
                    </a:cubicBezTo>
                    <a:cubicBezTo>
                      <a:pt x="115223" y="76666"/>
                      <a:pt x="115223" y="76666"/>
                      <a:pt x="115223" y="76666"/>
                    </a:cubicBezTo>
                    <a:cubicBezTo>
                      <a:pt x="117611" y="76666"/>
                      <a:pt x="117611" y="76666"/>
                      <a:pt x="117611" y="76666"/>
                    </a:cubicBezTo>
                    <a:cubicBezTo>
                      <a:pt x="118805" y="76111"/>
                      <a:pt x="118805" y="76111"/>
                      <a:pt x="118805" y="76111"/>
                    </a:cubicBezTo>
                    <a:cubicBezTo>
                      <a:pt x="118805" y="74444"/>
                      <a:pt x="118805" y="74444"/>
                      <a:pt x="118805" y="74444"/>
                    </a:cubicBezTo>
                    <a:cubicBezTo>
                      <a:pt x="118805" y="73333"/>
                      <a:pt x="118805" y="73333"/>
                      <a:pt x="118805" y="73333"/>
                    </a:cubicBezTo>
                    <a:cubicBezTo>
                      <a:pt x="120000" y="72222"/>
                      <a:pt x="120000" y="72222"/>
                      <a:pt x="120000" y="72222"/>
                    </a:cubicBezTo>
                    <a:cubicBezTo>
                      <a:pt x="119402" y="71666"/>
                      <a:pt x="119402" y="71666"/>
                      <a:pt x="119402" y="71666"/>
                    </a:cubicBezTo>
                    <a:lnTo>
                      <a:pt x="118208" y="71111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9F9EA2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13" name="Shape 1419">
                <a:extLst>
                  <a:ext uri="{FF2B5EF4-FFF2-40B4-BE49-F238E27FC236}">
                    <a16:creationId xmlns:a16="http://schemas.microsoft.com/office/drawing/2014/main" id="{68036F48-96F4-46E9-BDCF-856B8EB64A81}"/>
                  </a:ext>
                </a:extLst>
              </p:cNvPr>
              <p:cNvSpPr/>
              <p:nvPr/>
            </p:nvSpPr>
            <p:spPr>
              <a:xfrm>
                <a:off x="9828033" y="3167894"/>
                <a:ext cx="1012851" cy="567832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56129" y="109640"/>
                    </a:moveTo>
                    <a:lnTo>
                      <a:pt x="81774" y="101870"/>
                    </a:lnTo>
                    <a:lnTo>
                      <a:pt x="117580" y="88920"/>
                    </a:lnTo>
                    <a:lnTo>
                      <a:pt x="120000" y="87194"/>
                    </a:lnTo>
                    <a:lnTo>
                      <a:pt x="120000" y="84604"/>
                    </a:lnTo>
                    <a:lnTo>
                      <a:pt x="119032" y="80287"/>
                    </a:lnTo>
                    <a:lnTo>
                      <a:pt x="117580" y="76834"/>
                    </a:lnTo>
                    <a:lnTo>
                      <a:pt x="115645" y="74244"/>
                    </a:lnTo>
                    <a:lnTo>
                      <a:pt x="114677" y="74244"/>
                    </a:lnTo>
                    <a:lnTo>
                      <a:pt x="112258" y="71654"/>
                    </a:lnTo>
                    <a:lnTo>
                      <a:pt x="111774" y="69064"/>
                    </a:lnTo>
                    <a:lnTo>
                      <a:pt x="110322" y="67338"/>
                    </a:lnTo>
                    <a:lnTo>
                      <a:pt x="109354" y="63884"/>
                    </a:lnTo>
                    <a:lnTo>
                      <a:pt x="108387" y="62158"/>
                    </a:lnTo>
                    <a:lnTo>
                      <a:pt x="108387" y="60431"/>
                    </a:lnTo>
                    <a:lnTo>
                      <a:pt x="109354" y="58705"/>
                    </a:lnTo>
                    <a:lnTo>
                      <a:pt x="111290" y="60431"/>
                    </a:lnTo>
                    <a:lnTo>
                      <a:pt x="110322" y="57841"/>
                    </a:lnTo>
                    <a:lnTo>
                      <a:pt x="109354" y="55251"/>
                    </a:lnTo>
                    <a:lnTo>
                      <a:pt x="108387" y="54388"/>
                    </a:lnTo>
                    <a:lnTo>
                      <a:pt x="104032" y="51798"/>
                    </a:lnTo>
                    <a:lnTo>
                      <a:pt x="102096" y="46618"/>
                    </a:lnTo>
                    <a:lnTo>
                      <a:pt x="102096" y="45755"/>
                    </a:lnTo>
                    <a:lnTo>
                      <a:pt x="104032" y="47482"/>
                    </a:lnTo>
                    <a:lnTo>
                      <a:pt x="106451" y="48345"/>
                    </a:lnTo>
                    <a:lnTo>
                      <a:pt x="106935" y="50935"/>
                    </a:lnTo>
                    <a:lnTo>
                      <a:pt x="109838" y="51798"/>
                    </a:lnTo>
                    <a:lnTo>
                      <a:pt x="108870" y="48345"/>
                    </a:lnTo>
                    <a:lnTo>
                      <a:pt x="108870" y="44028"/>
                    </a:lnTo>
                    <a:lnTo>
                      <a:pt x="108870" y="41438"/>
                    </a:lnTo>
                    <a:lnTo>
                      <a:pt x="106935" y="42302"/>
                    </a:lnTo>
                    <a:lnTo>
                      <a:pt x="104032" y="38848"/>
                    </a:lnTo>
                    <a:lnTo>
                      <a:pt x="102580" y="35395"/>
                    </a:lnTo>
                    <a:lnTo>
                      <a:pt x="102096" y="35395"/>
                    </a:lnTo>
                    <a:lnTo>
                      <a:pt x="101612" y="37122"/>
                    </a:lnTo>
                    <a:lnTo>
                      <a:pt x="100161" y="37122"/>
                    </a:lnTo>
                    <a:lnTo>
                      <a:pt x="98225" y="33669"/>
                    </a:lnTo>
                    <a:lnTo>
                      <a:pt x="96290" y="31942"/>
                    </a:lnTo>
                    <a:lnTo>
                      <a:pt x="94354" y="31079"/>
                    </a:lnTo>
                    <a:lnTo>
                      <a:pt x="93387" y="31942"/>
                    </a:lnTo>
                    <a:lnTo>
                      <a:pt x="91935" y="32805"/>
                    </a:lnTo>
                    <a:lnTo>
                      <a:pt x="90967" y="31079"/>
                    </a:lnTo>
                    <a:lnTo>
                      <a:pt x="90967" y="21582"/>
                    </a:lnTo>
                    <a:lnTo>
                      <a:pt x="92419" y="20719"/>
                    </a:lnTo>
                    <a:lnTo>
                      <a:pt x="93387" y="18129"/>
                    </a:lnTo>
                    <a:lnTo>
                      <a:pt x="92903" y="14676"/>
                    </a:lnTo>
                    <a:lnTo>
                      <a:pt x="90967" y="12086"/>
                    </a:lnTo>
                    <a:lnTo>
                      <a:pt x="88548" y="8633"/>
                    </a:lnTo>
                    <a:lnTo>
                      <a:pt x="83709" y="3453"/>
                    </a:lnTo>
                    <a:lnTo>
                      <a:pt x="82741" y="4316"/>
                    </a:lnTo>
                    <a:lnTo>
                      <a:pt x="81290" y="6906"/>
                    </a:lnTo>
                    <a:lnTo>
                      <a:pt x="80322" y="6906"/>
                    </a:lnTo>
                    <a:lnTo>
                      <a:pt x="77419" y="4316"/>
                    </a:lnTo>
                    <a:lnTo>
                      <a:pt x="73064" y="0"/>
                    </a:lnTo>
                    <a:lnTo>
                      <a:pt x="73064" y="6906"/>
                    </a:lnTo>
                    <a:lnTo>
                      <a:pt x="72096" y="12949"/>
                    </a:lnTo>
                    <a:lnTo>
                      <a:pt x="71129" y="15539"/>
                    </a:lnTo>
                    <a:lnTo>
                      <a:pt x="69677" y="18129"/>
                    </a:lnTo>
                    <a:lnTo>
                      <a:pt x="67258" y="25899"/>
                    </a:lnTo>
                    <a:lnTo>
                      <a:pt x="66774" y="24172"/>
                    </a:lnTo>
                    <a:lnTo>
                      <a:pt x="65322" y="24172"/>
                    </a:lnTo>
                    <a:lnTo>
                      <a:pt x="64838" y="24172"/>
                    </a:lnTo>
                    <a:lnTo>
                      <a:pt x="64354" y="27625"/>
                    </a:lnTo>
                    <a:lnTo>
                      <a:pt x="63387" y="31079"/>
                    </a:lnTo>
                    <a:lnTo>
                      <a:pt x="61935" y="37985"/>
                    </a:lnTo>
                    <a:lnTo>
                      <a:pt x="61451" y="39712"/>
                    </a:lnTo>
                    <a:lnTo>
                      <a:pt x="60483" y="38848"/>
                    </a:lnTo>
                    <a:lnTo>
                      <a:pt x="58064" y="37122"/>
                    </a:lnTo>
                    <a:lnTo>
                      <a:pt x="56129" y="35395"/>
                    </a:lnTo>
                    <a:lnTo>
                      <a:pt x="55645" y="41438"/>
                    </a:lnTo>
                    <a:lnTo>
                      <a:pt x="54193" y="51798"/>
                    </a:lnTo>
                    <a:lnTo>
                      <a:pt x="52741" y="58705"/>
                    </a:lnTo>
                    <a:lnTo>
                      <a:pt x="50322" y="63021"/>
                    </a:lnTo>
                    <a:lnTo>
                      <a:pt x="49838" y="67338"/>
                    </a:lnTo>
                    <a:lnTo>
                      <a:pt x="50322" y="74244"/>
                    </a:lnTo>
                    <a:lnTo>
                      <a:pt x="48387" y="76834"/>
                    </a:lnTo>
                    <a:lnTo>
                      <a:pt x="43064" y="82014"/>
                    </a:lnTo>
                    <a:lnTo>
                      <a:pt x="39677" y="87194"/>
                    </a:lnTo>
                    <a:lnTo>
                      <a:pt x="35322" y="88920"/>
                    </a:lnTo>
                    <a:lnTo>
                      <a:pt x="33387" y="86330"/>
                    </a:lnTo>
                    <a:lnTo>
                      <a:pt x="30483" y="92374"/>
                    </a:lnTo>
                    <a:lnTo>
                      <a:pt x="29516" y="92374"/>
                    </a:lnTo>
                    <a:lnTo>
                      <a:pt x="27096" y="90647"/>
                    </a:lnTo>
                    <a:lnTo>
                      <a:pt x="24193" y="86330"/>
                    </a:lnTo>
                    <a:lnTo>
                      <a:pt x="23709" y="83741"/>
                    </a:lnTo>
                    <a:lnTo>
                      <a:pt x="22258" y="83741"/>
                    </a:lnTo>
                    <a:lnTo>
                      <a:pt x="21774" y="85467"/>
                    </a:lnTo>
                    <a:lnTo>
                      <a:pt x="20806" y="88920"/>
                    </a:lnTo>
                    <a:lnTo>
                      <a:pt x="18870" y="94100"/>
                    </a:lnTo>
                    <a:lnTo>
                      <a:pt x="13548" y="97553"/>
                    </a:lnTo>
                    <a:lnTo>
                      <a:pt x="12096" y="101870"/>
                    </a:lnTo>
                    <a:lnTo>
                      <a:pt x="10645" y="109640"/>
                    </a:lnTo>
                    <a:lnTo>
                      <a:pt x="8709" y="110503"/>
                    </a:lnTo>
                    <a:lnTo>
                      <a:pt x="7258" y="112230"/>
                    </a:lnTo>
                    <a:lnTo>
                      <a:pt x="4838" y="114820"/>
                    </a:lnTo>
                    <a:lnTo>
                      <a:pt x="2903" y="117410"/>
                    </a:lnTo>
                    <a:lnTo>
                      <a:pt x="0" y="120000"/>
                    </a:lnTo>
                    <a:lnTo>
                      <a:pt x="30967" y="114820"/>
                    </a:lnTo>
                    <a:lnTo>
                      <a:pt x="56129" y="10964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14" name="Shape 1420">
                <a:extLst>
                  <a:ext uri="{FF2B5EF4-FFF2-40B4-BE49-F238E27FC236}">
                    <a16:creationId xmlns:a16="http://schemas.microsoft.com/office/drawing/2014/main" id="{410C725C-4714-4EBD-A289-9E3BAAB77846}"/>
                  </a:ext>
                </a:extLst>
              </p:cNvPr>
              <p:cNvSpPr/>
              <p:nvPr/>
            </p:nvSpPr>
            <p:spPr>
              <a:xfrm>
                <a:off x="9917881" y="3935899"/>
                <a:ext cx="653452" cy="506557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62222" y="11428"/>
                    </a:moveTo>
                    <a:cubicBezTo>
                      <a:pt x="59682" y="3265"/>
                      <a:pt x="59682" y="3265"/>
                      <a:pt x="59682" y="3265"/>
                    </a:cubicBezTo>
                    <a:cubicBezTo>
                      <a:pt x="55873" y="816"/>
                      <a:pt x="55873" y="816"/>
                      <a:pt x="55873" y="816"/>
                    </a:cubicBezTo>
                    <a:cubicBezTo>
                      <a:pt x="50158" y="0"/>
                      <a:pt x="50158" y="0"/>
                      <a:pt x="50158" y="0"/>
                    </a:cubicBezTo>
                    <a:cubicBezTo>
                      <a:pt x="45714" y="816"/>
                      <a:pt x="45714" y="816"/>
                      <a:pt x="45714" y="816"/>
                    </a:cubicBezTo>
                    <a:cubicBezTo>
                      <a:pt x="42539" y="3265"/>
                      <a:pt x="42539" y="3265"/>
                      <a:pt x="42539" y="3265"/>
                    </a:cubicBezTo>
                    <a:cubicBezTo>
                      <a:pt x="40634" y="4081"/>
                      <a:pt x="40634" y="4081"/>
                      <a:pt x="40634" y="4081"/>
                    </a:cubicBezTo>
                    <a:cubicBezTo>
                      <a:pt x="36825" y="4897"/>
                      <a:pt x="36825" y="4897"/>
                      <a:pt x="36825" y="4897"/>
                    </a:cubicBezTo>
                    <a:cubicBezTo>
                      <a:pt x="29206" y="3265"/>
                      <a:pt x="29206" y="3265"/>
                      <a:pt x="29206" y="3265"/>
                    </a:cubicBezTo>
                    <a:cubicBezTo>
                      <a:pt x="24761" y="3265"/>
                      <a:pt x="24761" y="3265"/>
                      <a:pt x="24761" y="3265"/>
                    </a:cubicBezTo>
                    <a:cubicBezTo>
                      <a:pt x="19682" y="4081"/>
                      <a:pt x="19682" y="4081"/>
                      <a:pt x="19682" y="4081"/>
                    </a:cubicBezTo>
                    <a:cubicBezTo>
                      <a:pt x="16507" y="5714"/>
                      <a:pt x="16507" y="5714"/>
                      <a:pt x="16507" y="5714"/>
                    </a:cubicBezTo>
                    <a:cubicBezTo>
                      <a:pt x="7619" y="14693"/>
                      <a:pt x="7619" y="14693"/>
                      <a:pt x="7619" y="14693"/>
                    </a:cubicBezTo>
                    <a:cubicBezTo>
                      <a:pt x="7619" y="14693"/>
                      <a:pt x="7619" y="14693"/>
                      <a:pt x="7619" y="14693"/>
                    </a:cubicBezTo>
                    <a:cubicBezTo>
                      <a:pt x="6984" y="16326"/>
                      <a:pt x="6984" y="16326"/>
                      <a:pt x="6984" y="16326"/>
                    </a:cubicBezTo>
                    <a:cubicBezTo>
                      <a:pt x="6984" y="17959"/>
                      <a:pt x="6984" y="17959"/>
                      <a:pt x="6984" y="17959"/>
                    </a:cubicBezTo>
                    <a:cubicBezTo>
                      <a:pt x="5714" y="18775"/>
                      <a:pt x="5714" y="18775"/>
                      <a:pt x="5714" y="18775"/>
                    </a:cubicBezTo>
                    <a:cubicBezTo>
                      <a:pt x="3174" y="21224"/>
                      <a:pt x="3174" y="21224"/>
                      <a:pt x="3174" y="21224"/>
                    </a:cubicBezTo>
                    <a:cubicBezTo>
                      <a:pt x="0" y="23673"/>
                      <a:pt x="0" y="23673"/>
                      <a:pt x="0" y="23673"/>
                    </a:cubicBezTo>
                    <a:cubicBezTo>
                      <a:pt x="0" y="26122"/>
                      <a:pt x="0" y="26122"/>
                      <a:pt x="0" y="26122"/>
                    </a:cubicBezTo>
                    <a:cubicBezTo>
                      <a:pt x="1269" y="27755"/>
                      <a:pt x="1269" y="27755"/>
                      <a:pt x="1269" y="27755"/>
                    </a:cubicBezTo>
                    <a:cubicBezTo>
                      <a:pt x="2539" y="30204"/>
                      <a:pt x="2539" y="30204"/>
                      <a:pt x="2539" y="30204"/>
                    </a:cubicBezTo>
                    <a:cubicBezTo>
                      <a:pt x="10158" y="34285"/>
                      <a:pt x="10158" y="34285"/>
                      <a:pt x="10158" y="34285"/>
                    </a:cubicBezTo>
                    <a:cubicBezTo>
                      <a:pt x="12063" y="36734"/>
                      <a:pt x="12063" y="36734"/>
                      <a:pt x="12063" y="36734"/>
                    </a:cubicBezTo>
                    <a:cubicBezTo>
                      <a:pt x="13968" y="40000"/>
                      <a:pt x="13968" y="40000"/>
                      <a:pt x="13968" y="40000"/>
                    </a:cubicBezTo>
                    <a:cubicBezTo>
                      <a:pt x="15238" y="43265"/>
                      <a:pt x="15238" y="43265"/>
                      <a:pt x="15238" y="43265"/>
                    </a:cubicBezTo>
                    <a:cubicBezTo>
                      <a:pt x="18412" y="47346"/>
                      <a:pt x="18412" y="47346"/>
                      <a:pt x="18412" y="47346"/>
                    </a:cubicBezTo>
                    <a:cubicBezTo>
                      <a:pt x="21587" y="52244"/>
                      <a:pt x="21587" y="52244"/>
                      <a:pt x="21587" y="52244"/>
                    </a:cubicBezTo>
                    <a:cubicBezTo>
                      <a:pt x="31746" y="62857"/>
                      <a:pt x="31746" y="62857"/>
                      <a:pt x="31746" y="62857"/>
                    </a:cubicBezTo>
                    <a:cubicBezTo>
                      <a:pt x="34920" y="66122"/>
                      <a:pt x="34920" y="66122"/>
                      <a:pt x="34920" y="66122"/>
                    </a:cubicBezTo>
                    <a:cubicBezTo>
                      <a:pt x="38730" y="72653"/>
                      <a:pt x="38730" y="72653"/>
                      <a:pt x="38730" y="72653"/>
                    </a:cubicBezTo>
                    <a:cubicBezTo>
                      <a:pt x="41904" y="78367"/>
                      <a:pt x="41904" y="78367"/>
                      <a:pt x="41904" y="78367"/>
                    </a:cubicBezTo>
                    <a:cubicBezTo>
                      <a:pt x="46349" y="80816"/>
                      <a:pt x="46349" y="80816"/>
                      <a:pt x="46349" y="80816"/>
                    </a:cubicBezTo>
                    <a:cubicBezTo>
                      <a:pt x="48253" y="83265"/>
                      <a:pt x="48253" y="83265"/>
                      <a:pt x="48253" y="83265"/>
                    </a:cubicBezTo>
                    <a:cubicBezTo>
                      <a:pt x="50158" y="85714"/>
                      <a:pt x="50158" y="85714"/>
                      <a:pt x="50158" y="85714"/>
                    </a:cubicBezTo>
                    <a:cubicBezTo>
                      <a:pt x="52063" y="87346"/>
                      <a:pt x="52063" y="87346"/>
                      <a:pt x="52063" y="87346"/>
                    </a:cubicBezTo>
                    <a:cubicBezTo>
                      <a:pt x="53333" y="88979"/>
                      <a:pt x="53333" y="88979"/>
                      <a:pt x="53333" y="88979"/>
                    </a:cubicBezTo>
                    <a:cubicBezTo>
                      <a:pt x="55238" y="93061"/>
                      <a:pt x="55238" y="93061"/>
                      <a:pt x="55238" y="93061"/>
                    </a:cubicBezTo>
                    <a:cubicBezTo>
                      <a:pt x="56507" y="95510"/>
                      <a:pt x="56507" y="95510"/>
                      <a:pt x="56507" y="95510"/>
                    </a:cubicBezTo>
                    <a:cubicBezTo>
                      <a:pt x="56507" y="97142"/>
                      <a:pt x="56507" y="97142"/>
                      <a:pt x="56507" y="97142"/>
                    </a:cubicBezTo>
                    <a:cubicBezTo>
                      <a:pt x="57142" y="99591"/>
                      <a:pt x="57142" y="99591"/>
                      <a:pt x="57142" y="99591"/>
                    </a:cubicBezTo>
                    <a:cubicBezTo>
                      <a:pt x="57777" y="101224"/>
                      <a:pt x="57777" y="101224"/>
                      <a:pt x="57777" y="101224"/>
                    </a:cubicBezTo>
                    <a:cubicBezTo>
                      <a:pt x="58412" y="101224"/>
                      <a:pt x="58412" y="101224"/>
                      <a:pt x="58412" y="101224"/>
                    </a:cubicBezTo>
                    <a:cubicBezTo>
                      <a:pt x="60317" y="102040"/>
                      <a:pt x="60317" y="102040"/>
                      <a:pt x="60317" y="102040"/>
                    </a:cubicBezTo>
                    <a:cubicBezTo>
                      <a:pt x="62222" y="103673"/>
                      <a:pt x="62222" y="103673"/>
                      <a:pt x="62222" y="103673"/>
                    </a:cubicBezTo>
                    <a:cubicBezTo>
                      <a:pt x="62222" y="104489"/>
                      <a:pt x="62222" y="104489"/>
                      <a:pt x="62222" y="104489"/>
                    </a:cubicBezTo>
                    <a:cubicBezTo>
                      <a:pt x="62222" y="106122"/>
                      <a:pt x="62222" y="106122"/>
                      <a:pt x="62222" y="106122"/>
                    </a:cubicBezTo>
                    <a:cubicBezTo>
                      <a:pt x="62857" y="108571"/>
                      <a:pt x="62857" y="108571"/>
                      <a:pt x="62857" y="108571"/>
                    </a:cubicBezTo>
                    <a:cubicBezTo>
                      <a:pt x="65396" y="111836"/>
                      <a:pt x="65396" y="111836"/>
                      <a:pt x="65396" y="111836"/>
                    </a:cubicBezTo>
                    <a:cubicBezTo>
                      <a:pt x="65396" y="112653"/>
                      <a:pt x="65396" y="112653"/>
                      <a:pt x="65396" y="112653"/>
                    </a:cubicBezTo>
                    <a:cubicBezTo>
                      <a:pt x="65396" y="115918"/>
                      <a:pt x="65396" y="115918"/>
                      <a:pt x="65396" y="115918"/>
                    </a:cubicBezTo>
                    <a:cubicBezTo>
                      <a:pt x="66031" y="118367"/>
                      <a:pt x="66031" y="118367"/>
                      <a:pt x="66031" y="118367"/>
                    </a:cubicBezTo>
                    <a:cubicBezTo>
                      <a:pt x="67301" y="119183"/>
                      <a:pt x="67301" y="119183"/>
                      <a:pt x="67301" y="119183"/>
                    </a:cubicBezTo>
                    <a:cubicBezTo>
                      <a:pt x="68571" y="120000"/>
                      <a:pt x="68571" y="120000"/>
                      <a:pt x="68571" y="120000"/>
                    </a:cubicBezTo>
                    <a:cubicBezTo>
                      <a:pt x="68571" y="115102"/>
                      <a:pt x="68571" y="115102"/>
                      <a:pt x="68571" y="115102"/>
                    </a:cubicBezTo>
                    <a:cubicBezTo>
                      <a:pt x="69841" y="114285"/>
                      <a:pt x="69841" y="114285"/>
                      <a:pt x="69841" y="114285"/>
                    </a:cubicBezTo>
                    <a:cubicBezTo>
                      <a:pt x="73015" y="114285"/>
                      <a:pt x="73015" y="114285"/>
                      <a:pt x="73015" y="114285"/>
                    </a:cubicBezTo>
                    <a:cubicBezTo>
                      <a:pt x="73650" y="114285"/>
                      <a:pt x="73650" y="114285"/>
                      <a:pt x="73650" y="114285"/>
                    </a:cubicBezTo>
                    <a:cubicBezTo>
                      <a:pt x="73650" y="114285"/>
                      <a:pt x="74920" y="113469"/>
                      <a:pt x="74920" y="113469"/>
                    </a:cubicBezTo>
                    <a:cubicBezTo>
                      <a:pt x="74920" y="112653"/>
                      <a:pt x="74285" y="111836"/>
                      <a:pt x="74285" y="111836"/>
                    </a:cubicBezTo>
                    <a:cubicBezTo>
                      <a:pt x="73650" y="111836"/>
                      <a:pt x="73650" y="111836"/>
                      <a:pt x="73650" y="111836"/>
                    </a:cubicBezTo>
                    <a:cubicBezTo>
                      <a:pt x="73650" y="111836"/>
                      <a:pt x="71111" y="111020"/>
                      <a:pt x="71111" y="111020"/>
                    </a:cubicBezTo>
                    <a:cubicBezTo>
                      <a:pt x="70476" y="111020"/>
                      <a:pt x="69841" y="109387"/>
                      <a:pt x="69841" y="109387"/>
                    </a:cubicBezTo>
                    <a:cubicBezTo>
                      <a:pt x="69841" y="108571"/>
                      <a:pt x="69841" y="108571"/>
                      <a:pt x="69841" y="108571"/>
                    </a:cubicBezTo>
                    <a:cubicBezTo>
                      <a:pt x="70476" y="105306"/>
                      <a:pt x="70476" y="105306"/>
                      <a:pt x="70476" y="105306"/>
                    </a:cubicBezTo>
                    <a:cubicBezTo>
                      <a:pt x="73015" y="107755"/>
                      <a:pt x="73015" y="107755"/>
                      <a:pt x="73015" y="107755"/>
                    </a:cubicBezTo>
                    <a:cubicBezTo>
                      <a:pt x="73650" y="108571"/>
                      <a:pt x="73650" y="108571"/>
                      <a:pt x="73650" y="108571"/>
                    </a:cubicBezTo>
                    <a:cubicBezTo>
                      <a:pt x="75555" y="110204"/>
                      <a:pt x="75555" y="110204"/>
                      <a:pt x="75555" y="110204"/>
                    </a:cubicBezTo>
                    <a:cubicBezTo>
                      <a:pt x="78095" y="109387"/>
                      <a:pt x="78095" y="109387"/>
                      <a:pt x="78095" y="109387"/>
                    </a:cubicBezTo>
                    <a:cubicBezTo>
                      <a:pt x="78730" y="104489"/>
                      <a:pt x="78730" y="104489"/>
                      <a:pt x="78730" y="104489"/>
                    </a:cubicBezTo>
                    <a:cubicBezTo>
                      <a:pt x="78730" y="103673"/>
                      <a:pt x="78730" y="103673"/>
                      <a:pt x="78730" y="103673"/>
                    </a:cubicBezTo>
                    <a:cubicBezTo>
                      <a:pt x="78095" y="100408"/>
                      <a:pt x="78095" y="100408"/>
                      <a:pt x="78095" y="100408"/>
                    </a:cubicBezTo>
                    <a:cubicBezTo>
                      <a:pt x="80000" y="100408"/>
                      <a:pt x="80000" y="100408"/>
                      <a:pt x="80000" y="100408"/>
                    </a:cubicBezTo>
                    <a:cubicBezTo>
                      <a:pt x="82539" y="100408"/>
                      <a:pt x="82539" y="100408"/>
                      <a:pt x="82539" y="100408"/>
                    </a:cubicBezTo>
                    <a:cubicBezTo>
                      <a:pt x="85714" y="97959"/>
                      <a:pt x="85714" y="97959"/>
                      <a:pt x="85714" y="97959"/>
                    </a:cubicBezTo>
                    <a:cubicBezTo>
                      <a:pt x="85714" y="97142"/>
                      <a:pt x="85714" y="97142"/>
                      <a:pt x="85714" y="97142"/>
                    </a:cubicBezTo>
                    <a:cubicBezTo>
                      <a:pt x="84444" y="96326"/>
                      <a:pt x="84444" y="96326"/>
                      <a:pt x="84444" y="96326"/>
                    </a:cubicBezTo>
                    <a:cubicBezTo>
                      <a:pt x="83174" y="96326"/>
                      <a:pt x="83174" y="96326"/>
                      <a:pt x="83174" y="96326"/>
                    </a:cubicBezTo>
                    <a:cubicBezTo>
                      <a:pt x="81904" y="95510"/>
                      <a:pt x="81904" y="95510"/>
                      <a:pt x="81904" y="95510"/>
                    </a:cubicBezTo>
                    <a:cubicBezTo>
                      <a:pt x="81904" y="93877"/>
                      <a:pt x="81904" y="93877"/>
                      <a:pt x="81904" y="93877"/>
                    </a:cubicBezTo>
                    <a:cubicBezTo>
                      <a:pt x="83809" y="93061"/>
                      <a:pt x="83809" y="93061"/>
                      <a:pt x="83809" y="93061"/>
                    </a:cubicBezTo>
                    <a:cubicBezTo>
                      <a:pt x="84444" y="93877"/>
                      <a:pt x="84444" y="93877"/>
                      <a:pt x="84444" y="93877"/>
                    </a:cubicBezTo>
                    <a:cubicBezTo>
                      <a:pt x="86349" y="95510"/>
                      <a:pt x="86349" y="95510"/>
                      <a:pt x="86349" y="95510"/>
                    </a:cubicBezTo>
                    <a:cubicBezTo>
                      <a:pt x="87619" y="95510"/>
                      <a:pt x="87619" y="95510"/>
                      <a:pt x="87619" y="95510"/>
                    </a:cubicBezTo>
                    <a:cubicBezTo>
                      <a:pt x="90158" y="93061"/>
                      <a:pt x="90158" y="93061"/>
                      <a:pt x="90158" y="93061"/>
                    </a:cubicBezTo>
                    <a:cubicBezTo>
                      <a:pt x="92063" y="89795"/>
                      <a:pt x="92063" y="89795"/>
                      <a:pt x="92063" y="89795"/>
                    </a:cubicBezTo>
                    <a:cubicBezTo>
                      <a:pt x="91428" y="87346"/>
                      <a:pt x="91428" y="87346"/>
                      <a:pt x="91428" y="87346"/>
                    </a:cubicBezTo>
                    <a:cubicBezTo>
                      <a:pt x="89523" y="85714"/>
                      <a:pt x="89523" y="85714"/>
                      <a:pt x="89523" y="85714"/>
                    </a:cubicBezTo>
                    <a:cubicBezTo>
                      <a:pt x="89523" y="84897"/>
                      <a:pt x="89523" y="84897"/>
                      <a:pt x="89523" y="84897"/>
                    </a:cubicBezTo>
                    <a:cubicBezTo>
                      <a:pt x="90793" y="84081"/>
                      <a:pt x="90793" y="84081"/>
                      <a:pt x="90793" y="84081"/>
                    </a:cubicBezTo>
                    <a:cubicBezTo>
                      <a:pt x="93333" y="85714"/>
                      <a:pt x="93333" y="85714"/>
                      <a:pt x="93333" y="85714"/>
                    </a:cubicBezTo>
                    <a:cubicBezTo>
                      <a:pt x="94603" y="84081"/>
                      <a:pt x="94603" y="84081"/>
                      <a:pt x="94603" y="84081"/>
                    </a:cubicBezTo>
                    <a:cubicBezTo>
                      <a:pt x="95873" y="81632"/>
                      <a:pt x="95873" y="81632"/>
                      <a:pt x="95873" y="81632"/>
                    </a:cubicBezTo>
                    <a:cubicBezTo>
                      <a:pt x="98412" y="75918"/>
                      <a:pt x="98412" y="75918"/>
                      <a:pt x="98412" y="75918"/>
                    </a:cubicBezTo>
                    <a:cubicBezTo>
                      <a:pt x="100952" y="73469"/>
                      <a:pt x="100952" y="73469"/>
                      <a:pt x="100952" y="73469"/>
                    </a:cubicBezTo>
                    <a:cubicBezTo>
                      <a:pt x="104126" y="72653"/>
                      <a:pt x="104126" y="72653"/>
                      <a:pt x="104126" y="72653"/>
                    </a:cubicBezTo>
                    <a:cubicBezTo>
                      <a:pt x="106031" y="68571"/>
                      <a:pt x="106031" y="68571"/>
                      <a:pt x="106031" y="68571"/>
                    </a:cubicBezTo>
                    <a:cubicBezTo>
                      <a:pt x="107301" y="66122"/>
                      <a:pt x="107301" y="66122"/>
                      <a:pt x="107301" y="66122"/>
                    </a:cubicBezTo>
                    <a:cubicBezTo>
                      <a:pt x="106031" y="64489"/>
                      <a:pt x="106031" y="64489"/>
                      <a:pt x="106031" y="64489"/>
                    </a:cubicBezTo>
                    <a:cubicBezTo>
                      <a:pt x="104761" y="61224"/>
                      <a:pt x="104761" y="61224"/>
                      <a:pt x="104761" y="61224"/>
                    </a:cubicBezTo>
                    <a:cubicBezTo>
                      <a:pt x="106031" y="61224"/>
                      <a:pt x="106031" y="61224"/>
                      <a:pt x="106031" y="61224"/>
                    </a:cubicBezTo>
                    <a:cubicBezTo>
                      <a:pt x="107301" y="61224"/>
                      <a:pt x="107301" y="61224"/>
                      <a:pt x="107301" y="61224"/>
                    </a:cubicBezTo>
                    <a:cubicBezTo>
                      <a:pt x="107301" y="58775"/>
                      <a:pt x="107301" y="58775"/>
                      <a:pt x="107301" y="58775"/>
                    </a:cubicBezTo>
                    <a:cubicBezTo>
                      <a:pt x="107936" y="57142"/>
                      <a:pt x="107936" y="57142"/>
                      <a:pt x="107936" y="57142"/>
                    </a:cubicBezTo>
                    <a:cubicBezTo>
                      <a:pt x="109841" y="53877"/>
                      <a:pt x="109841" y="53877"/>
                      <a:pt x="109841" y="53877"/>
                    </a:cubicBezTo>
                    <a:cubicBezTo>
                      <a:pt x="111111" y="48979"/>
                      <a:pt x="111111" y="48979"/>
                      <a:pt x="111111" y="48979"/>
                    </a:cubicBezTo>
                    <a:cubicBezTo>
                      <a:pt x="112380" y="45714"/>
                      <a:pt x="112380" y="45714"/>
                      <a:pt x="112380" y="45714"/>
                    </a:cubicBezTo>
                    <a:cubicBezTo>
                      <a:pt x="113015" y="44081"/>
                      <a:pt x="113015" y="44081"/>
                      <a:pt x="113015" y="44081"/>
                    </a:cubicBezTo>
                    <a:cubicBezTo>
                      <a:pt x="114285" y="42448"/>
                      <a:pt x="114285" y="42448"/>
                      <a:pt x="114285" y="42448"/>
                    </a:cubicBezTo>
                    <a:cubicBezTo>
                      <a:pt x="118730" y="37551"/>
                      <a:pt x="118730" y="37551"/>
                      <a:pt x="118730" y="37551"/>
                    </a:cubicBezTo>
                    <a:cubicBezTo>
                      <a:pt x="120000" y="35918"/>
                      <a:pt x="120000" y="35918"/>
                      <a:pt x="120000" y="35918"/>
                    </a:cubicBezTo>
                    <a:cubicBezTo>
                      <a:pt x="87619" y="4897"/>
                      <a:pt x="87619" y="4897"/>
                      <a:pt x="87619" y="4897"/>
                    </a:cubicBezTo>
                    <a:lnTo>
                      <a:pt x="62222" y="11428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15" name="Shape 1421">
                <a:extLst>
                  <a:ext uri="{FF2B5EF4-FFF2-40B4-BE49-F238E27FC236}">
                    <a16:creationId xmlns:a16="http://schemas.microsoft.com/office/drawing/2014/main" id="{DC64AA90-889B-4774-AB0A-9DD11B0ED970}"/>
                  </a:ext>
                </a:extLst>
              </p:cNvPr>
              <p:cNvSpPr/>
              <p:nvPr/>
            </p:nvSpPr>
            <p:spPr>
              <a:xfrm>
                <a:off x="9244012" y="4029859"/>
                <a:ext cx="514591" cy="825193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38095" y="111683"/>
                    </a:moveTo>
                    <a:lnTo>
                      <a:pt x="37142" y="108712"/>
                    </a:lnTo>
                    <a:lnTo>
                      <a:pt x="33333" y="105742"/>
                    </a:lnTo>
                    <a:lnTo>
                      <a:pt x="31428" y="104554"/>
                    </a:lnTo>
                    <a:lnTo>
                      <a:pt x="31428" y="102772"/>
                    </a:lnTo>
                    <a:lnTo>
                      <a:pt x="34285" y="102178"/>
                    </a:lnTo>
                    <a:lnTo>
                      <a:pt x="40952" y="100990"/>
                    </a:lnTo>
                    <a:lnTo>
                      <a:pt x="48571" y="99801"/>
                    </a:lnTo>
                    <a:lnTo>
                      <a:pt x="120000" y="96237"/>
                    </a:lnTo>
                    <a:lnTo>
                      <a:pt x="119047" y="95643"/>
                    </a:lnTo>
                    <a:lnTo>
                      <a:pt x="115238" y="92673"/>
                    </a:lnTo>
                    <a:lnTo>
                      <a:pt x="114285" y="90891"/>
                    </a:lnTo>
                    <a:lnTo>
                      <a:pt x="112380" y="89108"/>
                    </a:lnTo>
                    <a:lnTo>
                      <a:pt x="113333" y="87920"/>
                    </a:lnTo>
                    <a:lnTo>
                      <a:pt x="115238" y="86732"/>
                    </a:lnTo>
                    <a:lnTo>
                      <a:pt x="114285" y="83762"/>
                    </a:lnTo>
                    <a:lnTo>
                      <a:pt x="112380" y="81980"/>
                    </a:lnTo>
                    <a:lnTo>
                      <a:pt x="110476" y="77227"/>
                    </a:lnTo>
                    <a:lnTo>
                      <a:pt x="110476" y="74257"/>
                    </a:lnTo>
                    <a:lnTo>
                      <a:pt x="113333" y="73069"/>
                    </a:lnTo>
                    <a:lnTo>
                      <a:pt x="114285" y="70693"/>
                    </a:lnTo>
                    <a:lnTo>
                      <a:pt x="110476" y="69504"/>
                    </a:lnTo>
                    <a:lnTo>
                      <a:pt x="115238" y="67722"/>
                    </a:lnTo>
                    <a:lnTo>
                      <a:pt x="116190" y="65346"/>
                    </a:lnTo>
                    <a:lnTo>
                      <a:pt x="114285" y="64158"/>
                    </a:lnTo>
                    <a:lnTo>
                      <a:pt x="113333" y="61782"/>
                    </a:lnTo>
                    <a:lnTo>
                      <a:pt x="113333" y="59405"/>
                    </a:lnTo>
                    <a:lnTo>
                      <a:pt x="109523" y="56435"/>
                    </a:lnTo>
                    <a:lnTo>
                      <a:pt x="102857" y="49306"/>
                    </a:lnTo>
                    <a:lnTo>
                      <a:pt x="100952" y="44554"/>
                    </a:lnTo>
                    <a:lnTo>
                      <a:pt x="91428" y="24356"/>
                    </a:lnTo>
                    <a:lnTo>
                      <a:pt x="84761" y="7128"/>
                    </a:lnTo>
                    <a:lnTo>
                      <a:pt x="82857" y="0"/>
                    </a:lnTo>
                    <a:lnTo>
                      <a:pt x="89523" y="0"/>
                    </a:lnTo>
                    <a:lnTo>
                      <a:pt x="89523" y="0"/>
                    </a:lnTo>
                    <a:lnTo>
                      <a:pt x="952" y="4158"/>
                    </a:lnTo>
                    <a:lnTo>
                      <a:pt x="952" y="8316"/>
                    </a:lnTo>
                    <a:lnTo>
                      <a:pt x="0" y="62970"/>
                    </a:lnTo>
                    <a:lnTo>
                      <a:pt x="0" y="92079"/>
                    </a:lnTo>
                    <a:lnTo>
                      <a:pt x="5714" y="116435"/>
                    </a:lnTo>
                    <a:lnTo>
                      <a:pt x="7619" y="116435"/>
                    </a:lnTo>
                    <a:lnTo>
                      <a:pt x="10476" y="117029"/>
                    </a:lnTo>
                    <a:lnTo>
                      <a:pt x="14285" y="117623"/>
                    </a:lnTo>
                    <a:lnTo>
                      <a:pt x="15238" y="115841"/>
                    </a:lnTo>
                    <a:lnTo>
                      <a:pt x="14285" y="113465"/>
                    </a:lnTo>
                    <a:lnTo>
                      <a:pt x="15238" y="111089"/>
                    </a:lnTo>
                    <a:lnTo>
                      <a:pt x="17142" y="109900"/>
                    </a:lnTo>
                    <a:lnTo>
                      <a:pt x="20000" y="109306"/>
                    </a:lnTo>
                    <a:lnTo>
                      <a:pt x="20952" y="110495"/>
                    </a:lnTo>
                    <a:lnTo>
                      <a:pt x="20952" y="112277"/>
                    </a:lnTo>
                    <a:lnTo>
                      <a:pt x="20000" y="113465"/>
                    </a:lnTo>
                    <a:lnTo>
                      <a:pt x="20952" y="114653"/>
                    </a:lnTo>
                    <a:lnTo>
                      <a:pt x="21904" y="115247"/>
                    </a:lnTo>
                    <a:lnTo>
                      <a:pt x="23809" y="115841"/>
                    </a:lnTo>
                    <a:lnTo>
                      <a:pt x="25714" y="117029"/>
                    </a:lnTo>
                    <a:lnTo>
                      <a:pt x="25714" y="118217"/>
                    </a:lnTo>
                    <a:lnTo>
                      <a:pt x="25714" y="118811"/>
                    </a:lnTo>
                    <a:lnTo>
                      <a:pt x="23809" y="120000"/>
                    </a:lnTo>
                    <a:lnTo>
                      <a:pt x="25714" y="119405"/>
                    </a:lnTo>
                    <a:lnTo>
                      <a:pt x="29523" y="118811"/>
                    </a:lnTo>
                    <a:lnTo>
                      <a:pt x="34285" y="118217"/>
                    </a:lnTo>
                    <a:lnTo>
                      <a:pt x="36190" y="117029"/>
                    </a:lnTo>
                    <a:lnTo>
                      <a:pt x="37142" y="117029"/>
                    </a:lnTo>
                    <a:lnTo>
                      <a:pt x="40952" y="116435"/>
                    </a:lnTo>
                    <a:lnTo>
                      <a:pt x="41904" y="115841"/>
                    </a:lnTo>
                    <a:lnTo>
                      <a:pt x="41904" y="115841"/>
                    </a:lnTo>
                    <a:lnTo>
                      <a:pt x="38095" y="111683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16" name="Shape 1422">
                <a:extLst>
                  <a:ext uri="{FF2B5EF4-FFF2-40B4-BE49-F238E27FC236}">
                    <a16:creationId xmlns:a16="http://schemas.microsoft.com/office/drawing/2014/main" id="{87D2FF4D-1A12-4167-9FCA-F393B4D12501}"/>
                  </a:ext>
                </a:extLst>
              </p:cNvPr>
              <p:cNvSpPr/>
              <p:nvPr/>
            </p:nvSpPr>
            <p:spPr>
              <a:xfrm>
                <a:off x="8794760" y="4058452"/>
                <a:ext cx="473754" cy="829280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13793" y="87487"/>
                    </a:moveTo>
                    <a:lnTo>
                      <a:pt x="113793" y="58522"/>
                    </a:lnTo>
                    <a:lnTo>
                      <a:pt x="114827" y="4137"/>
                    </a:lnTo>
                    <a:lnTo>
                      <a:pt x="114827" y="0"/>
                    </a:lnTo>
                    <a:lnTo>
                      <a:pt x="42413" y="2955"/>
                    </a:lnTo>
                    <a:lnTo>
                      <a:pt x="42413" y="2955"/>
                    </a:lnTo>
                    <a:lnTo>
                      <a:pt x="43448" y="4729"/>
                    </a:lnTo>
                    <a:lnTo>
                      <a:pt x="39310" y="5911"/>
                    </a:lnTo>
                    <a:lnTo>
                      <a:pt x="37241" y="7093"/>
                    </a:lnTo>
                    <a:lnTo>
                      <a:pt x="36206" y="8866"/>
                    </a:lnTo>
                    <a:lnTo>
                      <a:pt x="34137" y="10049"/>
                    </a:lnTo>
                    <a:lnTo>
                      <a:pt x="33103" y="10049"/>
                    </a:lnTo>
                    <a:lnTo>
                      <a:pt x="31034" y="13004"/>
                    </a:lnTo>
                    <a:lnTo>
                      <a:pt x="31034" y="15369"/>
                    </a:lnTo>
                    <a:lnTo>
                      <a:pt x="27931" y="18325"/>
                    </a:lnTo>
                    <a:lnTo>
                      <a:pt x="22758" y="21871"/>
                    </a:lnTo>
                    <a:lnTo>
                      <a:pt x="19655" y="23645"/>
                    </a:lnTo>
                    <a:lnTo>
                      <a:pt x="18620" y="26009"/>
                    </a:lnTo>
                    <a:lnTo>
                      <a:pt x="20689" y="26600"/>
                    </a:lnTo>
                    <a:lnTo>
                      <a:pt x="18620" y="28374"/>
                    </a:lnTo>
                    <a:lnTo>
                      <a:pt x="16551" y="30738"/>
                    </a:lnTo>
                    <a:lnTo>
                      <a:pt x="17586" y="31921"/>
                    </a:lnTo>
                    <a:lnTo>
                      <a:pt x="16551" y="31921"/>
                    </a:lnTo>
                    <a:lnTo>
                      <a:pt x="13448" y="34285"/>
                    </a:lnTo>
                    <a:lnTo>
                      <a:pt x="11379" y="36059"/>
                    </a:lnTo>
                    <a:lnTo>
                      <a:pt x="12413" y="36650"/>
                    </a:lnTo>
                    <a:lnTo>
                      <a:pt x="11379" y="37832"/>
                    </a:lnTo>
                    <a:lnTo>
                      <a:pt x="11379" y="39014"/>
                    </a:lnTo>
                    <a:lnTo>
                      <a:pt x="12413" y="39605"/>
                    </a:lnTo>
                    <a:lnTo>
                      <a:pt x="14482" y="41379"/>
                    </a:lnTo>
                    <a:lnTo>
                      <a:pt x="14482" y="42561"/>
                    </a:lnTo>
                    <a:lnTo>
                      <a:pt x="14482" y="46108"/>
                    </a:lnTo>
                    <a:lnTo>
                      <a:pt x="15517" y="47881"/>
                    </a:lnTo>
                    <a:lnTo>
                      <a:pt x="14482" y="49655"/>
                    </a:lnTo>
                    <a:lnTo>
                      <a:pt x="12413" y="52610"/>
                    </a:lnTo>
                    <a:lnTo>
                      <a:pt x="11379" y="52610"/>
                    </a:lnTo>
                    <a:lnTo>
                      <a:pt x="14482" y="53793"/>
                    </a:lnTo>
                    <a:lnTo>
                      <a:pt x="15517" y="55566"/>
                    </a:lnTo>
                    <a:lnTo>
                      <a:pt x="15517" y="56748"/>
                    </a:lnTo>
                    <a:lnTo>
                      <a:pt x="11379" y="57931"/>
                    </a:lnTo>
                    <a:lnTo>
                      <a:pt x="14482" y="59113"/>
                    </a:lnTo>
                    <a:lnTo>
                      <a:pt x="15517" y="60295"/>
                    </a:lnTo>
                    <a:lnTo>
                      <a:pt x="15517" y="60886"/>
                    </a:lnTo>
                    <a:lnTo>
                      <a:pt x="16551" y="63842"/>
                    </a:lnTo>
                    <a:lnTo>
                      <a:pt x="16551" y="65024"/>
                    </a:lnTo>
                    <a:lnTo>
                      <a:pt x="19655" y="66206"/>
                    </a:lnTo>
                    <a:lnTo>
                      <a:pt x="20689" y="67980"/>
                    </a:lnTo>
                    <a:lnTo>
                      <a:pt x="19655" y="72709"/>
                    </a:lnTo>
                    <a:lnTo>
                      <a:pt x="16551" y="74482"/>
                    </a:lnTo>
                    <a:lnTo>
                      <a:pt x="15517" y="74482"/>
                    </a:lnTo>
                    <a:lnTo>
                      <a:pt x="15517" y="76847"/>
                    </a:lnTo>
                    <a:lnTo>
                      <a:pt x="14482" y="78029"/>
                    </a:lnTo>
                    <a:lnTo>
                      <a:pt x="10344" y="81576"/>
                    </a:lnTo>
                    <a:lnTo>
                      <a:pt x="8275" y="82758"/>
                    </a:lnTo>
                    <a:lnTo>
                      <a:pt x="7241" y="86896"/>
                    </a:lnTo>
                    <a:lnTo>
                      <a:pt x="6206" y="88078"/>
                    </a:lnTo>
                    <a:lnTo>
                      <a:pt x="5172" y="88669"/>
                    </a:lnTo>
                    <a:lnTo>
                      <a:pt x="4137" y="90443"/>
                    </a:lnTo>
                    <a:lnTo>
                      <a:pt x="4137" y="91625"/>
                    </a:lnTo>
                    <a:lnTo>
                      <a:pt x="4137" y="94581"/>
                    </a:lnTo>
                    <a:lnTo>
                      <a:pt x="1034" y="95763"/>
                    </a:lnTo>
                    <a:lnTo>
                      <a:pt x="0" y="96945"/>
                    </a:lnTo>
                    <a:lnTo>
                      <a:pt x="0" y="98719"/>
                    </a:lnTo>
                    <a:lnTo>
                      <a:pt x="1034" y="101083"/>
                    </a:lnTo>
                    <a:lnTo>
                      <a:pt x="68275" y="99310"/>
                    </a:lnTo>
                    <a:lnTo>
                      <a:pt x="67241" y="108768"/>
                    </a:lnTo>
                    <a:lnTo>
                      <a:pt x="69310" y="111133"/>
                    </a:lnTo>
                    <a:lnTo>
                      <a:pt x="72413" y="113497"/>
                    </a:lnTo>
                    <a:lnTo>
                      <a:pt x="73448" y="117635"/>
                    </a:lnTo>
                    <a:lnTo>
                      <a:pt x="73448" y="120000"/>
                    </a:lnTo>
                    <a:lnTo>
                      <a:pt x="73448" y="120000"/>
                    </a:lnTo>
                    <a:lnTo>
                      <a:pt x="74482" y="120000"/>
                    </a:lnTo>
                    <a:lnTo>
                      <a:pt x="79655" y="118226"/>
                    </a:lnTo>
                    <a:lnTo>
                      <a:pt x="81724" y="117635"/>
                    </a:lnTo>
                    <a:lnTo>
                      <a:pt x="84827" y="116453"/>
                    </a:lnTo>
                    <a:lnTo>
                      <a:pt x="84827" y="114088"/>
                    </a:lnTo>
                    <a:lnTo>
                      <a:pt x="88965" y="114088"/>
                    </a:lnTo>
                    <a:lnTo>
                      <a:pt x="92068" y="114088"/>
                    </a:lnTo>
                    <a:lnTo>
                      <a:pt x="96206" y="113497"/>
                    </a:lnTo>
                    <a:lnTo>
                      <a:pt x="101379" y="112315"/>
                    </a:lnTo>
                    <a:lnTo>
                      <a:pt x="105517" y="112315"/>
                    </a:lnTo>
                    <a:lnTo>
                      <a:pt x="107586" y="112315"/>
                    </a:lnTo>
                    <a:lnTo>
                      <a:pt x="110689" y="112315"/>
                    </a:lnTo>
                    <a:lnTo>
                      <a:pt x="112758" y="112315"/>
                    </a:lnTo>
                    <a:lnTo>
                      <a:pt x="116896" y="113497"/>
                    </a:lnTo>
                    <a:lnTo>
                      <a:pt x="118965" y="112315"/>
                    </a:lnTo>
                    <a:lnTo>
                      <a:pt x="120000" y="111724"/>
                    </a:lnTo>
                    <a:lnTo>
                      <a:pt x="120000" y="111724"/>
                    </a:lnTo>
                    <a:lnTo>
                      <a:pt x="120000" y="111724"/>
                    </a:lnTo>
                    <a:lnTo>
                      <a:pt x="113793" y="87487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17" name="Shape 1423">
                <a:extLst>
                  <a:ext uri="{FF2B5EF4-FFF2-40B4-BE49-F238E27FC236}">
                    <a16:creationId xmlns:a16="http://schemas.microsoft.com/office/drawing/2014/main" id="{27811DF0-D4BD-461B-B188-9F9AE29CD7F3}"/>
                  </a:ext>
                </a:extLst>
              </p:cNvPr>
              <p:cNvSpPr/>
              <p:nvPr/>
            </p:nvSpPr>
            <p:spPr>
              <a:xfrm>
                <a:off x="10289534" y="3057596"/>
                <a:ext cx="588107" cy="428940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94588" y="0"/>
                    </a:moveTo>
                    <a:cubicBezTo>
                      <a:pt x="0" y="23414"/>
                      <a:pt x="0" y="23414"/>
                      <a:pt x="0" y="23414"/>
                    </a:cubicBezTo>
                    <a:cubicBezTo>
                      <a:pt x="0" y="23414"/>
                      <a:pt x="0" y="23414"/>
                      <a:pt x="0" y="23414"/>
                    </a:cubicBezTo>
                    <a:cubicBezTo>
                      <a:pt x="2117" y="42926"/>
                      <a:pt x="2117" y="42926"/>
                      <a:pt x="2117" y="42926"/>
                    </a:cubicBezTo>
                    <a:cubicBezTo>
                      <a:pt x="4941" y="42926"/>
                      <a:pt x="4941" y="42926"/>
                      <a:pt x="4941" y="42926"/>
                    </a:cubicBezTo>
                    <a:cubicBezTo>
                      <a:pt x="11294" y="32195"/>
                      <a:pt x="11294" y="32195"/>
                      <a:pt x="11294" y="32195"/>
                    </a:cubicBezTo>
                    <a:cubicBezTo>
                      <a:pt x="15529" y="32195"/>
                      <a:pt x="15529" y="32195"/>
                      <a:pt x="15529" y="32195"/>
                    </a:cubicBezTo>
                    <a:cubicBezTo>
                      <a:pt x="19764" y="24390"/>
                      <a:pt x="19764" y="24390"/>
                      <a:pt x="19764" y="24390"/>
                    </a:cubicBezTo>
                    <a:cubicBezTo>
                      <a:pt x="21176" y="24390"/>
                      <a:pt x="21176" y="24390"/>
                      <a:pt x="21176" y="24390"/>
                    </a:cubicBezTo>
                    <a:cubicBezTo>
                      <a:pt x="21882" y="26341"/>
                      <a:pt x="21882" y="26341"/>
                      <a:pt x="21882" y="26341"/>
                    </a:cubicBezTo>
                    <a:cubicBezTo>
                      <a:pt x="26823" y="21463"/>
                      <a:pt x="26823" y="21463"/>
                      <a:pt x="26823" y="21463"/>
                    </a:cubicBezTo>
                    <a:cubicBezTo>
                      <a:pt x="28941" y="21463"/>
                      <a:pt x="28941" y="21463"/>
                      <a:pt x="28941" y="21463"/>
                    </a:cubicBezTo>
                    <a:cubicBezTo>
                      <a:pt x="34588" y="17560"/>
                      <a:pt x="34588" y="17560"/>
                      <a:pt x="34588" y="17560"/>
                    </a:cubicBezTo>
                    <a:cubicBezTo>
                      <a:pt x="44470" y="21463"/>
                      <a:pt x="44470" y="21463"/>
                      <a:pt x="44470" y="21463"/>
                    </a:cubicBezTo>
                    <a:cubicBezTo>
                      <a:pt x="47294" y="27317"/>
                      <a:pt x="47294" y="27317"/>
                      <a:pt x="47294" y="27317"/>
                    </a:cubicBezTo>
                    <a:cubicBezTo>
                      <a:pt x="49411" y="35121"/>
                      <a:pt x="49411" y="35121"/>
                      <a:pt x="49411" y="35121"/>
                    </a:cubicBezTo>
                    <a:cubicBezTo>
                      <a:pt x="50117" y="35121"/>
                      <a:pt x="50117" y="35121"/>
                      <a:pt x="50117" y="35121"/>
                    </a:cubicBezTo>
                    <a:cubicBezTo>
                      <a:pt x="58588" y="41951"/>
                      <a:pt x="58588" y="41951"/>
                      <a:pt x="58588" y="41951"/>
                    </a:cubicBezTo>
                    <a:cubicBezTo>
                      <a:pt x="62117" y="46829"/>
                      <a:pt x="62117" y="46829"/>
                      <a:pt x="62117" y="46829"/>
                    </a:cubicBezTo>
                    <a:cubicBezTo>
                      <a:pt x="65647" y="49756"/>
                      <a:pt x="65647" y="49756"/>
                      <a:pt x="65647" y="49756"/>
                    </a:cubicBezTo>
                    <a:cubicBezTo>
                      <a:pt x="66352" y="54634"/>
                      <a:pt x="66352" y="54634"/>
                      <a:pt x="66352" y="54634"/>
                    </a:cubicBezTo>
                    <a:cubicBezTo>
                      <a:pt x="64941" y="58536"/>
                      <a:pt x="64941" y="58536"/>
                      <a:pt x="64941" y="58536"/>
                    </a:cubicBezTo>
                    <a:cubicBezTo>
                      <a:pt x="62117" y="59512"/>
                      <a:pt x="62117" y="59512"/>
                      <a:pt x="62117" y="59512"/>
                    </a:cubicBezTo>
                    <a:cubicBezTo>
                      <a:pt x="62823" y="72195"/>
                      <a:pt x="62823" y="72195"/>
                      <a:pt x="62823" y="72195"/>
                    </a:cubicBezTo>
                    <a:cubicBezTo>
                      <a:pt x="64235" y="74146"/>
                      <a:pt x="64235" y="74146"/>
                      <a:pt x="64235" y="74146"/>
                    </a:cubicBezTo>
                    <a:cubicBezTo>
                      <a:pt x="66352" y="73170"/>
                      <a:pt x="66352" y="73170"/>
                      <a:pt x="66352" y="73170"/>
                    </a:cubicBezTo>
                    <a:cubicBezTo>
                      <a:pt x="68470" y="72195"/>
                      <a:pt x="68470" y="72195"/>
                      <a:pt x="68470" y="72195"/>
                    </a:cubicBezTo>
                    <a:cubicBezTo>
                      <a:pt x="71294" y="73170"/>
                      <a:pt x="71294" y="73170"/>
                      <a:pt x="71294" y="73170"/>
                    </a:cubicBezTo>
                    <a:cubicBezTo>
                      <a:pt x="72000" y="74146"/>
                      <a:pt x="72000" y="74146"/>
                      <a:pt x="72000" y="74146"/>
                    </a:cubicBezTo>
                    <a:cubicBezTo>
                      <a:pt x="74823" y="73170"/>
                      <a:pt x="74823" y="73170"/>
                      <a:pt x="74823" y="73170"/>
                    </a:cubicBezTo>
                    <a:cubicBezTo>
                      <a:pt x="84000" y="74146"/>
                      <a:pt x="84000" y="74146"/>
                      <a:pt x="84000" y="74146"/>
                    </a:cubicBezTo>
                    <a:cubicBezTo>
                      <a:pt x="86117" y="76097"/>
                      <a:pt x="86117" y="76097"/>
                      <a:pt x="86117" y="76097"/>
                    </a:cubicBezTo>
                    <a:cubicBezTo>
                      <a:pt x="88941" y="78048"/>
                      <a:pt x="88941" y="78048"/>
                      <a:pt x="88941" y="78048"/>
                    </a:cubicBezTo>
                    <a:cubicBezTo>
                      <a:pt x="91058" y="77073"/>
                      <a:pt x="91058" y="77073"/>
                      <a:pt x="91058" y="77073"/>
                    </a:cubicBezTo>
                    <a:cubicBezTo>
                      <a:pt x="89647" y="73170"/>
                      <a:pt x="89647" y="73170"/>
                      <a:pt x="89647" y="73170"/>
                    </a:cubicBezTo>
                    <a:cubicBezTo>
                      <a:pt x="87529" y="70243"/>
                      <a:pt x="87529" y="70243"/>
                      <a:pt x="87529" y="70243"/>
                    </a:cubicBezTo>
                    <a:cubicBezTo>
                      <a:pt x="87529" y="67317"/>
                      <a:pt x="87529" y="67317"/>
                      <a:pt x="87529" y="67317"/>
                    </a:cubicBezTo>
                    <a:cubicBezTo>
                      <a:pt x="87529" y="66341"/>
                      <a:pt x="87529" y="66341"/>
                      <a:pt x="87529" y="66341"/>
                    </a:cubicBezTo>
                    <a:cubicBezTo>
                      <a:pt x="83294" y="58536"/>
                      <a:pt x="83294" y="58536"/>
                      <a:pt x="83294" y="58536"/>
                    </a:cubicBezTo>
                    <a:cubicBezTo>
                      <a:pt x="81882" y="55609"/>
                      <a:pt x="81882" y="55609"/>
                      <a:pt x="81882" y="55609"/>
                    </a:cubicBezTo>
                    <a:cubicBezTo>
                      <a:pt x="81882" y="48780"/>
                      <a:pt x="81882" y="48780"/>
                      <a:pt x="81882" y="48780"/>
                    </a:cubicBezTo>
                    <a:cubicBezTo>
                      <a:pt x="81176" y="41951"/>
                      <a:pt x="81176" y="41951"/>
                      <a:pt x="81176" y="41951"/>
                    </a:cubicBezTo>
                    <a:cubicBezTo>
                      <a:pt x="81882" y="35121"/>
                      <a:pt x="81882" y="35121"/>
                      <a:pt x="81882" y="35121"/>
                    </a:cubicBezTo>
                    <a:cubicBezTo>
                      <a:pt x="79764" y="30243"/>
                      <a:pt x="79764" y="30243"/>
                      <a:pt x="79764" y="30243"/>
                    </a:cubicBezTo>
                    <a:cubicBezTo>
                      <a:pt x="78352" y="27317"/>
                      <a:pt x="78352" y="27317"/>
                      <a:pt x="78352" y="27317"/>
                    </a:cubicBezTo>
                    <a:cubicBezTo>
                      <a:pt x="81176" y="27317"/>
                      <a:pt x="81176" y="27317"/>
                      <a:pt x="81176" y="27317"/>
                    </a:cubicBezTo>
                    <a:cubicBezTo>
                      <a:pt x="83294" y="21463"/>
                      <a:pt x="83294" y="21463"/>
                      <a:pt x="83294" y="21463"/>
                    </a:cubicBezTo>
                    <a:cubicBezTo>
                      <a:pt x="87529" y="17560"/>
                      <a:pt x="87529" y="17560"/>
                      <a:pt x="87529" y="17560"/>
                    </a:cubicBezTo>
                    <a:cubicBezTo>
                      <a:pt x="89647" y="11707"/>
                      <a:pt x="89647" y="11707"/>
                      <a:pt x="89647" y="11707"/>
                    </a:cubicBezTo>
                    <a:cubicBezTo>
                      <a:pt x="91058" y="12682"/>
                      <a:pt x="91058" y="12682"/>
                      <a:pt x="91058" y="12682"/>
                    </a:cubicBezTo>
                    <a:cubicBezTo>
                      <a:pt x="90352" y="19512"/>
                      <a:pt x="90352" y="19512"/>
                      <a:pt x="90352" y="19512"/>
                    </a:cubicBezTo>
                    <a:cubicBezTo>
                      <a:pt x="88235" y="20487"/>
                      <a:pt x="88235" y="20487"/>
                      <a:pt x="88235" y="20487"/>
                    </a:cubicBezTo>
                    <a:cubicBezTo>
                      <a:pt x="86823" y="26341"/>
                      <a:pt x="86823" y="26341"/>
                      <a:pt x="86823" y="26341"/>
                    </a:cubicBezTo>
                    <a:cubicBezTo>
                      <a:pt x="86823" y="30243"/>
                      <a:pt x="86823" y="30243"/>
                      <a:pt x="86823" y="30243"/>
                    </a:cubicBezTo>
                    <a:cubicBezTo>
                      <a:pt x="89647" y="30243"/>
                      <a:pt x="89647" y="30243"/>
                      <a:pt x="89647" y="30243"/>
                    </a:cubicBezTo>
                    <a:cubicBezTo>
                      <a:pt x="86117" y="35121"/>
                      <a:pt x="86117" y="35121"/>
                      <a:pt x="86117" y="35121"/>
                    </a:cubicBezTo>
                    <a:cubicBezTo>
                      <a:pt x="84705" y="38048"/>
                      <a:pt x="84705" y="38048"/>
                      <a:pt x="84705" y="38048"/>
                    </a:cubicBezTo>
                    <a:cubicBezTo>
                      <a:pt x="88941" y="40000"/>
                      <a:pt x="88941" y="40000"/>
                      <a:pt x="88941" y="40000"/>
                    </a:cubicBezTo>
                    <a:cubicBezTo>
                      <a:pt x="90352" y="40975"/>
                      <a:pt x="90352" y="40975"/>
                      <a:pt x="90352" y="40975"/>
                    </a:cubicBezTo>
                    <a:cubicBezTo>
                      <a:pt x="92470" y="44878"/>
                      <a:pt x="92470" y="44878"/>
                      <a:pt x="92470" y="44878"/>
                    </a:cubicBezTo>
                    <a:cubicBezTo>
                      <a:pt x="91764" y="45853"/>
                      <a:pt x="91764" y="45853"/>
                      <a:pt x="91764" y="45853"/>
                    </a:cubicBezTo>
                    <a:cubicBezTo>
                      <a:pt x="94588" y="49756"/>
                      <a:pt x="94588" y="49756"/>
                      <a:pt x="94588" y="49756"/>
                    </a:cubicBezTo>
                    <a:cubicBezTo>
                      <a:pt x="94588" y="51707"/>
                      <a:pt x="94588" y="51707"/>
                      <a:pt x="94588" y="51707"/>
                    </a:cubicBezTo>
                    <a:cubicBezTo>
                      <a:pt x="91764" y="55609"/>
                      <a:pt x="91764" y="55609"/>
                      <a:pt x="91764" y="55609"/>
                    </a:cubicBezTo>
                    <a:cubicBezTo>
                      <a:pt x="89647" y="55609"/>
                      <a:pt x="89647" y="55609"/>
                      <a:pt x="89647" y="55609"/>
                    </a:cubicBezTo>
                    <a:cubicBezTo>
                      <a:pt x="90352" y="59512"/>
                      <a:pt x="90352" y="59512"/>
                      <a:pt x="90352" y="59512"/>
                    </a:cubicBezTo>
                    <a:cubicBezTo>
                      <a:pt x="89647" y="61463"/>
                      <a:pt x="89647" y="61463"/>
                      <a:pt x="89647" y="61463"/>
                    </a:cubicBezTo>
                    <a:cubicBezTo>
                      <a:pt x="91058" y="63414"/>
                      <a:pt x="91058" y="63414"/>
                      <a:pt x="91058" y="63414"/>
                    </a:cubicBezTo>
                    <a:cubicBezTo>
                      <a:pt x="93882" y="64390"/>
                      <a:pt x="93882" y="64390"/>
                      <a:pt x="93882" y="64390"/>
                    </a:cubicBezTo>
                    <a:cubicBezTo>
                      <a:pt x="98117" y="64390"/>
                      <a:pt x="98117" y="64390"/>
                      <a:pt x="98117" y="64390"/>
                    </a:cubicBezTo>
                    <a:cubicBezTo>
                      <a:pt x="100941" y="67317"/>
                      <a:pt x="100941" y="67317"/>
                      <a:pt x="100941" y="67317"/>
                    </a:cubicBezTo>
                    <a:cubicBezTo>
                      <a:pt x="103058" y="73170"/>
                      <a:pt x="103058" y="73170"/>
                      <a:pt x="103058" y="73170"/>
                    </a:cubicBezTo>
                    <a:cubicBezTo>
                      <a:pt x="104470" y="78048"/>
                      <a:pt x="104470" y="78048"/>
                      <a:pt x="104470" y="78048"/>
                    </a:cubicBezTo>
                    <a:cubicBezTo>
                      <a:pt x="103764" y="79024"/>
                      <a:pt x="103764" y="79024"/>
                      <a:pt x="103764" y="79024"/>
                    </a:cubicBezTo>
                    <a:cubicBezTo>
                      <a:pt x="105882" y="81951"/>
                      <a:pt x="105882" y="81951"/>
                      <a:pt x="105882" y="81951"/>
                    </a:cubicBezTo>
                    <a:cubicBezTo>
                      <a:pt x="107294" y="86829"/>
                      <a:pt x="107294" y="86829"/>
                      <a:pt x="107294" y="86829"/>
                    </a:cubicBezTo>
                    <a:cubicBezTo>
                      <a:pt x="105176" y="95609"/>
                      <a:pt x="105176" y="95609"/>
                      <a:pt x="105176" y="95609"/>
                    </a:cubicBezTo>
                    <a:cubicBezTo>
                      <a:pt x="104470" y="101463"/>
                      <a:pt x="104470" y="101463"/>
                      <a:pt x="104470" y="101463"/>
                    </a:cubicBezTo>
                    <a:cubicBezTo>
                      <a:pt x="104470" y="111219"/>
                      <a:pt x="104470" y="111219"/>
                      <a:pt x="104470" y="111219"/>
                    </a:cubicBezTo>
                    <a:cubicBezTo>
                      <a:pt x="105176" y="117073"/>
                      <a:pt x="105176" y="117073"/>
                      <a:pt x="105176" y="117073"/>
                    </a:cubicBezTo>
                    <a:cubicBezTo>
                      <a:pt x="106588" y="120000"/>
                      <a:pt x="106588" y="120000"/>
                      <a:pt x="106588" y="120000"/>
                    </a:cubicBezTo>
                    <a:cubicBezTo>
                      <a:pt x="108000" y="113170"/>
                      <a:pt x="108000" y="113170"/>
                      <a:pt x="108000" y="113170"/>
                    </a:cubicBezTo>
                    <a:cubicBezTo>
                      <a:pt x="108705" y="102439"/>
                      <a:pt x="108705" y="102439"/>
                      <a:pt x="108705" y="102439"/>
                    </a:cubicBezTo>
                    <a:cubicBezTo>
                      <a:pt x="110823" y="99512"/>
                      <a:pt x="110823" y="99512"/>
                      <a:pt x="110823" y="99512"/>
                    </a:cubicBezTo>
                    <a:cubicBezTo>
                      <a:pt x="110823" y="96585"/>
                      <a:pt x="110823" y="96585"/>
                      <a:pt x="110823" y="96585"/>
                    </a:cubicBezTo>
                    <a:cubicBezTo>
                      <a:pt x="110823" y="94634"/>
                      <a:pt x="110823" y="94634"/>
                      <a:pt x="110823" y="94634"/>
                    </a:cubicBezTo>
                    <a:cubicBezTo>
                      <a:pt x="112941" y="92682"/>
                      <a:pt x="112941" y="92682"/>
                      <a:pt x="112941" y="92682"/>
                    </a:cubicBezTo>
                    <a:cubicBezTo>
                      <a:pt x="115058" y="88780"/>
                      <a:pt x="115058" y="88780"/>
                      <a:pt x="115058" y="88780"/>
                    </a:cubicBezTo>
                    <a:cubicBezTo>
                      <a:pt x="115058" y="80000"/>
                      <a:pt x="115058" y="80000"/>
                      <a:pt x="115058" y="80000"/>
                    </a:cubicBezTo>
                    <a:cubicBezTo>
                      <a:pt x="115058" y="77073"/>
                      <a:pt x="115058" y="77073"/>
                      <a:pt x="115058" y="77073"/>
                    </a:cubicBezTo>
                    <a:cubicBezTo>
                      <a:pt x="115058" y="73170"/>
                      <a:pt x="115058" y="73170"/>
                      <a:pt x="115058" y="73170"/>
                    </a:cubicBezTo>
                    <a:cubicBezTo>
                      <a:pt x="117882" y="69268"/>
                      <a:pt x="117882" y="69268"/>
                      <a:pt x="117882" y="69268"/>
                    </a:cubicBezTo>
                    <a:cubicBezTo>
                      <a:pt x="118588" y="72195"/>
                      <a:pt x="118588" y="72195"/>
                      <a:pt x="118588" y="72195"/>
                    </a:cubicBezTo>
                    <a:cubicBezTo>
                      <a:pt x="117882" y="75121"/>
                      <a:pt x="117882" y="75121"/>
                      <a:pt x="117882" y="75121"/>
                    </a:cubicBezTo>
                    <a:cubicBezTo>
                      <a:pt x="117882" y="75121"/>
                      <a:pt x="116470" y="78048"/>
                      <a:pt x="116470" y="78048"/>
                    </a:cubicBezTo>
                    <a:cubicBezTo>
                      <a:pt x="117176" y="79024"/>
                      <a:pt x="118588" y="80000"/>
                      <a:pt x="118588" y="80000"/>
                    </a:cubicBezTo>
                    <a:cubicBezTo>
                      <a:pt x="120000" y="75121"/>
                      <a:pt x="120000" y="75121"/>
                      <a:pt x="120000" y="75121"/>
                    </a:cubicBezTo>
                    <a:cubicBezTo>
                      <a:pt x="120000" y="66341"/>
                      <a:pt x="120000" y="66341"/>
                      <a:pt x="120000" y="66341"/>
                    </a:cubicBezTo>
                    <a:cubicBezTo>
                      <a:pt x="119294" y="52682"/>
                      <a:pt x="119294" y="52682"/>
                      <a:pt x="119294" y="52682"/>
                    </a:cubicBezTo>
                    <a:cubicBezTo>
                      <a:pt x="119294" y="52682"/>
                      <a:pt x="119294" y="52682"/>
                      <a:pt x="119294" y="52682"/>
                    </a:cubicBezTo>
                    <a:cubicBezTo>
                      <a:pt x="104470" y="55609"/>
                      <a:pt x="104470" y="55609"/>
                      <a:pt x="104470" y="55609"/>
                    </a:cubicBezTo>
                    <a:lnTo>
                      <a:pt x="94588" y="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18" name="Shape 1424">
                <a:extLst>
                  <a:ext uri="{FF2B5EF4-FFF2-40B4-BE49-F238E27FC236}">
                    <a16:creationId xmlns:a16="http://schemas.microsoft.com/office/drawing/2014/main" id="{284BA237-53EC-4115-9EA9-3261B7BD68F4}"/>
                  </a:ext>
                </a:extLst>
              </p:cNvPr>
              <p:cNvSpPr/>
              <p:nvPr/>
            </p:nvSpPr>
            <p:spPr>
              <a:xfrm>
                <a:off x="9930135" y="3008577"/>
                <a:ext cx="604444" cy="596428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7027" y="111780"/>
                    </a:moveTo>
                    <a:lnTo>
                      <a:pt x="19459" y="111780"/>
                    </a:lnTo>
                    <a:lnTo>
                      <a:pt x="20270" y="114246"/>
                    </a:lnTo>
                    <a:lnTo>
                      <a:pt x="25135" y="118356"/>
                    </a:lnTo>
                    <a:lnTo>
                      <a:pt x="29189" y="119999"/>
                    </a:lnTo>
                    <a:lnTo>
                      <a:pt x="30810" y="119999"/>
                    </a:lnTo>
                    <a:lnTo>
                      <a:pt x="35675" y="114246"/>
                    </a:lnTo>
                    <a:lnTo>
                      <a:pt x="38918" y="116712"/>
                    </a:lnTo>
                    <a:lnTo>
                      <a:pt x="46216" y="115068"/>
                    </a:lnTo>
                    <a:lnTo>
                      <a:pt x="51891" y="110136"/>
                    </a:lnTo>
                    <a:lnTo>
                      <a:pt x="60810" y="105205"/>
                    </a:lnTo>
                    <a:lnTo>
                      <a:pt x="64054" y="102739"/>
                    </a:lnTo>
                    <a:lnTo>
                      <a:pt x="63243" y="96164"/>
                    </a:lnTo>
                    <a:lnTo>
                      <a:pt x="64054" y="92054"/>
                    </a:lnTo>
                    <a:lnTo>
                      <a:pt x="68108" y="87945"/>
                    </a:lnTo>
                    <a:lnTo>
                      <a:pt x="70540" y="81369"/>
                    </a:lnTo>
                    <a:lnTo>
                      <a:pt x="72972" y="71506"/>
                    </a:lnTo>
                    <a:lnTo>
                      <a:pt x="73783" y="65753"/>
                    </a:lnTo>
                    <a:lnTo>
                      <a:pt x="77027" y="67397"/>
                    </a:lnTo>
                    <a:lnTo>
                      <a:pt x="81081" y="69041"/>
                    </a:lnTo>
                    <a:lnTo>
                      <a:pt x="82702" y="69863"/>
                    </a:lnTo>
                    <a:lnTo>
                      <a:pt x="83513" y="68219"/>
                    </a:lnTo>
                    <a:lnTo>
                      <a:pt x="85945" y="61643"/>
                    </a:lnTo>
                    <a:lnTo>
                      <a:pt x="87567" y="58356"/>
                    </a:lnTo>
                    <a:lnTo>
                      <a:pt x="88378" y="55068"/>
                    </a:lnTo>
                    <a:lnTo>
                      <a:pt x="89189" y="55068"/>
                    </a:lnTo>
                    <a:lnTo>
                      <a:pt x="91621" y="55068"/>
                    </a:lnTo>
                    <a:lnTo>
                      <a:pt x="92432" y="56712"/>
                    </a:lnTo>
                    <a:lnTo>
                      <a:pt x="96486" y="49315"/>
                    </a:lnTo>
                    <a:lnTo>
                      <a:pt x="98918" y="46849"/>
                    </a:lnTo>
                    <a:lnTo>
                      <a:pt x="100540" y="44383"/>
                    </a:lnTo>
                    <a:lnTo>
                      <a:pt x="102162" y="38630"/>
                    </a:lnTo>
                    <a:lnTo>
                      <a:pt x="102162" y="32054"/>
                    </a:lnTo>
                    <a:lnTo>
                      <a:pt x="109459" y="36164"/>
                    </a:lnTo>
                    <a:lnTo>
                      <a:pt x="114324" y="38630"/>
                    </a:lnTo>
                    <a:lnTo>
                      <a:pt x="115945" y="38630"/>
                    </a:lnTo>
                    <a:lnTo>
                      <a:pt x="118378" y="36164"/>
                    </a:lnTo>
                    <a:lnTo>
                      <a:pt x="120000" y="35342"/>
                    </a:lnTo>
                    <a:lnTo>
                      <a:pt x="119189" y="35342"/>
                    </a:lnTo>
                    <a:lnTo>
                      <a:pt x="117567" y="29589"/>
                    </a:lnTo>
                    <a:lnTo>
                      <a:pt x="114324" y="25479"/>
                    </a:lnTo>
                    <a:lnTo>
                      <a:pt x="105405" y="23013"/>
                    </a:lnTo>
                    <a:lnTo>
                      <a:pt x="99729" y="25479"/>
                    </a:lnTo>
                    <a:lnTo>
                      <a:pt x="97297" y="25479"/>
                    </a:lnTo>
                    <a:lnTo>
                      <a:pt x="92432" y="28767"/>
                    </a:lnTo>
                    <a:lnTo>
                      <a:pt x="91621" y="27945"/>
                    </a:lnTo>
                    <a:lnTo>
                      <a:pt x="90810" y="27945"/>
                    </a:lnTo>
                    <a:lnTo>
                      <a:pt x="86756" y="32876"/>
                    </a:lnTo>
                    <a:lnTo>
                      <a:pt x="82702" y="32876"/>
                    </a:lnTo>
                    <a:lnTo>
                      <a:pt x="76216" y="41095"/>
                    </a:lnTo>
                    <a:lnTo>
                      <a:pt x="73783" y="41095"/>
                    </a:lnTo>
                    <a:lnTo>
                      <a:pt x="71351" y="27123"/>
                    </a:lnTo>
                    <a:lnTo>
                      <a:pt x="46216" y="32054"/>
                    </a:lnTo>
                    <a:lnTo>
                      <a:pt x="41351" y="0"/>
                    </a:lnTo>
                    <a:lnTo>
                      <a:pt x="38918" y="0"/>
                    </a:lnTo>
                    <a:lnTo>
                      <a:pt x="38108" y="2465"/>
                    </a:lnTo>
                    <a:lnTo>
                      <a:pt x="38918" y="4931"/>
                    </a:lnTo>
                    <a:lnTo>
                      <a:pt x="38918" y="5753"/>
                    </a:lnTo>
                    <a:lnTo>
                      <a:pt x="38918" y="12328"/>
                    </a:lnTo>
                    <a:lnTo>
                      <a:pt x="38918" y="15616"/>
                    </a:lnTo>
                    <a:lnTo>
                      <a:pt x="38108" y="18082"/>
                    </a:lnTo>
                    <a:lnTo>
                      <a:pt x="38108" y="23013"/>
                    </a:lnTo>
                    <a:lnTo>
                      <a:pt x="37297" y="29589"/>
                    </a:lnTo>
                    <a:lnTo>
                      <a:pt x="37297" y="32054"/>
                    </a:lnTo>
                    <a:lnTo>
                      <a:pt x="35675" y="36164"/>
                    </a:lnTo>
                    <a:lnTo>
                      <a:pt x="29189" y="41917"/>
                    </a:lnTo>
                    <a:lnTo>
                      <a:pt x="26756" y="45205"/>
                    </a:lnTo>
                    <a:lnTo>
                      <a:pt x="22702" y="45205"/>
                    </a:lnTo>
                    <a:lnTo>
                      <a:pt x="19459" y="50136"/>
                    </a:lnTo>
                    <a:lnTo>
                      <a:pt x="17027" y="53424"/>
                    </a:lnTo>
                    <a:lnTo>
                      <a:pt x="16216" y="61643"/>
                    </a:lnTo>
                    <a:lnTo>
                      <a:pt x="15405" y="62465"/>
                    </a:lnTo>
                    <a:lnTo>
                      <a:pt x="12162" y="59999"/>
                    </a:lnTo>
                    <a:lnTo>
                      <a:pt x="9729" y="62465"/>
                    </a:lnTo>
                    <a:lnTo>
                      <a:pt x="7297" y="71506"/>
                    </a:lnTo>
                    <a:lnTo>
                      <a:pt x="7297" y="74794"/>
                    </a:lnTo>
                    <a:lnTo>
                      <a:pt x="5675" y="77260"/>
                    </a:lnTo>
                    <a:lnTo>
                      <a:pt x="2432" y="80547"/>
                    </a:lnTo>
                    <a:lnTo>
                      <a:pt x="0" y="83013"/>
                    </a:lnTo>
                    <a:lnTo>
                      <a:pt x="2432" y="93698"/>
                    </a:lnTo>
                    <a:lnTo>
                      <a:pt x="4054" y="98630"/>
                    </a:lnTo>
                    <a:lnTo>
                      <a:pt x="8108" y="104383"/>
                    </a:lnTo>
                    <a:lnTo>
                      <a:pt x="12162" y="108493"/>
                    </a:lnTo>
                    <a:lnTo>
                      <a:pt x="15405" y="113424"/>
                    </a:lnTo>
                    <a:lnTo>
                      <a:pt x="16216" y="113424"/>
                    </a:lnTo>
                    <a:lnTo>
                      <a:pt x="17027" y="11178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19" name="Shape 1425">
                <a:extLst>
                  <a:ext uri="{FF2B5EF4-FFF2-40B4-BE49-F238E27FC236}">
                    <a16:creationId xmlns:a16="http://schemas.microsoft.com/office/drawing/2014/main" id="{E6135C7B-FE99-4731-9A36-99B484BE15E2}"/>
                  </a:ext>
                </a:extLst>
              </p:cNvPr>
              <p:cNvSpPr/>
              <p:nvPr/>
            </p:nvSpPr>
            <p:spPr>
              <a:xfrm>
                <a:off x="9043891" y="3327216"/>
                <a:ext cx="963838" cy="498384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02711" y="92459"/>
                    </a:moveTo>
                    <a:lnTo>
                      <a:pt x="105254" y="89508"/>
                    </a:lnTo>
                    <a:lnTo>
                      <a:pt x="106779" y="87540"/>
                    </a:lnTo>
                    <a:lnTo>
                      <a:pt x="108813" y="86557"/>
                    </a:lnTo>
                    <a:lnTo>
                      <a:pt x="110338" y="77704"/>
                    </a:lnTo>
                    <a:lnTo>
                      <a:pt x="111864" y="72786"/>
                    </a:lnTo>
                    <a:lnTo>
                      <a:pt x="117457" y="68852"/>
                    </a:lnTo>
                    <a:lnTo>
                      <a:pt x="119491" y="62950"/>
                    </a:lnTo>
                    <a:lnTo>
                      <a:pt x="120000" y="59016"/>
                    </a:lnTo>
                    <a:lnTo>
                      <a:pt x="117966" y="53114"/>
                    </a:lnTo>
                    <a:lnTo>
                      <a:pt x="115423" y="48196"/>
                    </a:lnTo>
                    <a:lnTo>
                      <a:pt x="112881" y="41311"/>
                    </a:lnTo>
                    <a:lnTo>
                      <a:pt x="111864" y="35409"/>
                    </a:lnTo>
                    <a:lnTo>
                      <a:pt x="110338" y="22622"/>
                    </a:lnTo>
                    <a:lnTo>
                      <a:pt x="110847" y="21639"/>
                    </a:lnTo>
                    <a:lnTo>
                      <a:pt x="109322" y="21639"/>
                    </a:lnTo>
                    <a:lnTo>
                      <a:pt x="107288" y="17704"/>
                    </a:lnTo>
                    <a:lnTo>
                      <a:pt x="105254" y="12786"/>
                    </a:lnTo>
                    <a:lnTo>
                      <a:pt x="103728" y="9836"/>
                    </a:lnTo>
                    <a:lnTo>
                      <a:pt x="103220" y="10819"/>
                    </a:lnTo>
                    <a:lnTo>
                      <a:pt x="102203" y="11803"/>
                    </a:lnTo>
                    <a:lnTo>
                      <a:pt x="101186" y="14754"/>
                    </a:lnTo>
                    <a:lnTo>
                      <a:pt x="100677" y="15737"/>
                    </a:lnTo>
                    <a:lnTo>
                      <a:pt x="97627" y="16721"/>
                    </a:lnTo>
                    <a:lnTo>
                      <a:pt x="95084" y="14754"/>
                    </a:lnTo>
                    <a:lnTo>
                      <a:pt x="93559" y="12786"/>
                    </a:lnTo>
                    <a:lnTo>
                      <a:pt x="93050" y="13770"/>
                    </a:lnTo>
                    <a:lnTo>
                      <a:pt x="92033" y="15737"/>
                    </a:lnTo>
                    <a:lnTo>
                      <a:pt x="92033" y="16721"/>
                    </a:lnTo>
                    <a:lnTo>
                      <a:pt x="90508" y="17704"/>
                    </a:lnTo>
                    <a:lnTo>
                      <a:pt x="89491" y="15737"/>
                    </a:lnTo>
                    <a:lnTo>
                      <a:pt x="88474" y="14754"/>
                    </a:lnTo>
                    <a:lnTo>
                      <a:pt x="86949" y="13770"/>
                    </a:lnTo>
                    <a:lnTo>
                      <a:pt x="84406" y="12786"/>
                    </a:lnTo>
                    <a:lnTo>
                      <a:pt x="83898" y="10819"/>
                    </a:lnTo>
                    <a:lnTo>
                      <a:pt x="82881" y="6885"/>
                    </a:lnTo>
                    <a:lnTo>
                      <a:pt x="80847" y="3934"/>
                    </a:lnTo>
                    <a:lnTo>
                      <a:pt x="78305" y="0"/>
                    </a:lnTo>
                    <a:lnTo>
                      <a:pt x="77796" y="983"/>
                    </a:lnTo>
                    <a:lnTo>
                      <a:pt x="75254" y="2950"/>
                    </a:lnTo>
                    <a:lnTo>
                      <a:pt x="72711" y="983"/>
                    </a:lnTo>
                    <a:lnTo>
                      <a:pt x="71694" y="1967"/>
                    </a:lnTo>
                    <a:lnTo>
                      <a:pt x="72203" y="5901"/>
                    </a:lnTo>
                    <a:lnTo>
                      <a:pt x="73220" y="6885"/>
                    </a:lnTo>
                    <a:lnTo>
                      <a:pt x="72711" y="8852"/>
                    </a:lnTo>
                    <a:lnTo>
                      <a:pt x="73220" y="14754"/>
                    </a:lnTo>
                    <a:lnTo>
                      <a:pt x="72203" y="16721"/>
                    </a:lnTo>
                    <a:lnTo>
                      <a:pt x="70169" y="16721"/>
                    </a:lnTo>
                    <a:lnTo>
                      <a:pt x="68135" y="18688"/>
                    </a:lnTo>
                    <a:lnTo>
                      <a:pt x="64067" y="19672"/>
                    </a:lnTo>
                    <a:lnTo>
                      <a:pt x="63559" y="20655"/>
                    </a:lnTo>
                    <a:lnTo>
                      <a:pt x="63559" y="22622"/>
                    </a:lnTo>
                    <a:lnTo>
                      <a:pt x="63050" y="24590"/>
                    </a:lnTo>
                    <a:lnTo>
                      <a:pt x="63050" y="28524"/>
                    </a:lnTo>
                    <a:lnTo>
                      <a:pt x="62033" y="32459"/>
                    </a:lnTo>
                    <a:lnTo>
                      <a:pt x="61016" y="36393"/>
                    </a:lnTo>
                    <a:lnTo>
                      <a:pt x="60000" y="38360"/>
                    </a:lnTo>
                    <a:lnTo>
                      <a:pt x="58474" y="38360"/>
                    </a:lnTo>
                    <a:lnTo>
                      <a:pt x="56949" y="43278"/>
                    </a:lnTo>
                    <a:lnTo>
                      <a:pt x="56949" y="46229"/>
                    </a:lnTo>
                    <a:lnTo>
                      <a:pt x="55932" y="50163"/>
                    </a:lnTo>
                    <a:lnTo>
                      <a:pt x="52881" y="51147"/>
                    </a:lnTo>
                    <a:lnTo>
                      <a:pt x="52372" y="50163"/>
                    </a:lnTo>
                    <a:lnTo>
                      <a:pt x="50847" y="47213"/>
                    </a:lnTo>
                    <a:lnTo>
                      <a:pt x="50338" y="43278"/>
                    </a:lnTo>
                    <a:lnTo>
                      <a:pt x="49322" y="43278"/>
                    </a:lnTo>
                    <a:lnTo>
                      <a:pt x="48813" y="47213"/>
                    </a:lnTo>
                    <a:lnTo>
                      <a:pt x="47288" y="50163"/>
                    </a:lnTo>
                    <a:lnTo>
                      <a:pt x="47288" y="54098"/>
                    </a:lnTo>
                    <a:lnTo>
                      <a:pt x="46779" y="57049"/>
                    </a:lnTo>
                    <a:lnTo>
                      <a:pt x="44745" y="56065"/>
                    </a:lnTo>
                    <a:lnTo>
                      <a:pt x="43728" y="54098"/>
                    </a:lnTo>
                    <a:lnTo>
                      <a:pt x="41694" y="54098"/>
                    </a:lnTo>
                    <a:lnTo>
                      <a:pt x="40677" y="55081"/>
                    </a:lnTo>
                    <a:lnTo>
                      <a:pt x="38644" y="56065"/>
                    </a:lnTo>
                    <a:lnTo>
                      <a:pt x="38644" y="60000"/>
                    </a:lnTo>
                    <a:lnTo>
                      <a:pt x="38135" y="60983"/>
                    </a:lnTo>
                    <a:lnTo>
                      <a:pt x="36101" y="59016"/>
                    </a:lnTo>
                    <a:lnTo>
                      <a:pt x="34576" y="56065"/>
                    </a:lnTo>
                    <a:lnTo>
                      <a:pt x="32033" y="56065"/>
                    </a:lnTo>
                    <a:lnTo>
                      <a:pt x="30508" y="56065"/>
                    </a:lnTo>
                    <a:lnTo>
                      <a:pt x="28983" y="60000"/>
                    </a:lnTo>
                    <a:lnTo>
                      <a:pt x="24915" y="60000"/>
                    </a:lnTo>
                    <a:lnTo>
                      <a:pt x="24915" y="64918"/>
                    </a:lnTo>
                    <a:lnTo>
                      <a:pt x="23389" y="64918"/>
                    </a:lnTo>
                    <a:lnTo>
                      <a:pt x="21864" y="65901"/>
                    </a:lnTo>
                    <a:lnTo>
                      <a:pt x="21864" y="69836"/>
                    </a:lnTo>
                    <a:lnTo>
                      <a:pt x="21864" y="70819"/>
                    </a:lnTo>
                    <a:lnTo>
                      <a:pt x="21864" y="73770"/>
                    </a:lnTo>
                    <a:lnTo>
                      <a:pt x="22372" y="76721"/>
                    </a:lnTo>
                    <a:lnTo>
                      <a:pt x="21355" y="77704"/>
                    </a:lnTo>
                    <a:lnTo>
                      <a:pt x="18305" y="79672"/>
                    </a:lnTo>
                    <a:lnTo>
                      <a:pt x="16779" y="81639"/>
                    </a:lnTo>
                    <a:lnTo>
                      <a:pt x="16779" y="86557"/>
                    </a:lnTo>
                    <a:lnTo>
                      <a:pt x="17796" y="91475"/>
                    </a:lnTo>
                    <a:lnTo>
                      <a:pt x="16779" y="92459"/>
                    </a:lnTo>
                    <a:lnTo>
                      <a:pt x="15254" y="92459"/>
                    </a:lnTo>
                    <a:lnTo>
                      <a:pt x="13728" y="92459"/>
                    </a:lnTo>
                    <a:lnTo>
                      <a:pt x="11694" y="89508"/>
                    </a:lnTo>
                    <a:lnTo>
                      <a:pt x="9661" y="87540"/>
                    </a:lnTo>
                    <a:lnTo>
                      <a:pt x="8644" y="88524"/>
                    </a:lnTo>
                    <a:lnTo>
                      <a:pt x="7118" y="91475"/>
                    </a:lnTo>
                    <a:lnTo>
                      <a:pt x="5593" y="92459"/>
                    </a:lnTo>
                    <a:lnTo>
                      <a:pt x="5084" y="95409"/>
                    </a:lnTo>
                    <a:lnTo>
                      <a:pt x="5084" y="98360"/>
                    </a:lnTo>
                    <a:lnTo>
                      <a:pt x="7118" y="100327"/>
                    </a:lnTo>
                    <a:lnTo>
                      <a:pt x="7118" y="102295"/>
                    </a:lnTo>
                    <a:lnTo>
                      <a:pt x="7118" y="105245"/>
                    </a:lnTo>
                    <a:lnTo>
                      <a:pt x="7118" y="110163"/>
                    </a:lnTo>
                    <a:lnTo>
                      <a:pt x="6101" y="113114"/>
                    </a:lnTo>
                    <a:lnTo>
                      <a:pt x="5084" y="114098"/>
                    </a:lnTo>
                    <a:lnTo>
                      <a:pt x="3559" y="114098"/>
                    </a:lnTo>
                    <a:lnTo>
                      <a:pt x="2542" y="115081"/>
                    </a:lnTo>
                    <a:lnTo>
                      <a:pt x="2542" y="115081"/>
                    </a:lnTo>
                    <a:lnTo>
                      <a:pt x="2033" y="115081"/>
                    </a:lnTo>
                    <a:lnTo>
                      <a:pt x="0" y="115081"/>
                    </a:lnTo>
                    <a:lnTo>
                      <a:pt x="0" y="116065"/>
                    </a:lnTo>
                    <a:lnTo>
                      <a:pt x="0" y="119016"/>
                    </a:lnTo>
                    <a:lnTo>
                      <a:pt x="0" y="120000"/>
                    </a:lnTo>
                    <a:lnTo>
                      <a:pt x="1016" y="119016"/>
                    </a:lnTo>
                    <a:lnTo>
                      <a:pt x="26440" y="118032"/>
                    </a:lnTo>
                    <a:lnTo>
                      <a:pt x="25423" y="109180"/>
                    </a:lnTo>
                    <a:lnTo>
                      <a:pt x="72711" y="103278"/>
                    </a:lnTo>
                    <a:lnTo>
                      <a:pt x="97627" y="98360"/>
                    </a:lnTo>
                    <a:lnTo>
                      <a:pt x="100677" y="95409"/>
                    </a:lnTo>
                    <a:lnTo>
                      <a:pt x="102711" y="92459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20" name="Shape 1426">
                <a:extLst>
                  <a:ext uri="{FF2B5EF4-FFF2-40B4-BE49-F238E27FC236}">
                    <a16:creationId xmlns:a16="http://schemas.microsoft.com/office/drawing/2014/main" id="{1A8F1F3E-2012-43FD-B94D-525EA36592E0}"/>
                  </a:ext>
                </a:extLst>
              </p:cNvPr>
              <p:cNvSpPr/>
              <p:nvPr/>
            </p:nvSpPr>
            <p:spPr>
              <a:xfrm>
                <a:off x="8222992" y="3151556"/>
                <a:ext cx="878073" cy="763918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12440" y="104796"/>
                    </a:moveTo>
                    <a:cubicBezTo>
                      <a:pt x="112440" y="103167"/>
                      <a:pt x="112440" y="103167"/>
                      <a:pt x="112440" y="103167"/>
                    </a:cubicBezTo>
                    <a:cubicBezTo>
                      <a:pt x="112440" y="102624"/>
                      <a:pt x="112440" y="102624"/>
                      <a:pt x="112440" y="102624"/>
                    </a:cubicBezTo>
                    <a:cubicBezTo>
                      <a:pt x="114330" y="102624"/>
                      <a:pt x="114330" y="102624"/>
                      <a:pt x="114330" y="102624"/>
                    </a:cubicBezTo>
                    <a:cubicBezTo>
                      <a:pt x="114803" y="102624"/>
                      <a:pt x="114803" y="102624"/>
                      <a:pt x="114803" y="102624"/>
                    </a:cubicBezTo>
                    <a:cubicBezTo>
                      <a:pt x="115275" y="102081"/>
                      <a:pt x="115275" y="102081"/>
                      <a:pt x="115275" y="102081"/>
                    </a:cubicBezTo>
                    <a:cubicBezTo>
                      <a:pt x="116220" y="101538"/>
                      <a:pt x="116220" y="101538"/>
                      <a:pt x="116220" y="101538"/>
                    </a:cubicBezTo>
                    <a:cubicBezTo>
                      <a:pt x="117637" y="101538"/>
                      <a:pt x="117637" y="101538"/>
                      <a:pt x="117637" y="101538"/>
                    </a:cubicBezTo>
                    <a:cubicBezTo>
                      <a:pt x="119055" y="100995"/>
                      <a:pt x="119055" y="100995"/>
                      <a:pt x="119055" y="100995"/>
                    </a:cubicBezTo>
                    <a:cubicBezTo>
                      <a:pt x="120000" y="99366"/>
                      <a:pt x="120000" y="99366"/>
                      <a:pt x="120000" y="99366"/>
                    </a:cubicBezTo>
                    <a:cubicBezTo>
                      <a:pt x="120000" y="96108"/>
                      <a:pt x="120000" y="96108"/>
                      <a:pt x="120000" y="96108"/>
                    </a:cubicBezTo>
                    <a:cubicBezTo>
                      <a:pt x="120000" y="93936"/>
                      <a:pt x="120000" y="93936"/>
                      <a:pt x="120000" y="93936"/>
                    </a:cubicBezTo>
                    <a:cubicBezTo>
                      <a:pt x="120000" y="92850"/>
                      <a:pt x="120000" y="92850"/>
                      <a:pt x="120000" y="92850"/>
                    </a:cubicBezTo>
                    <a:cubicBezTo>
                      <a:pt x="118110" y="91221"/>
                      <a:pt x="118110" y="91221"/>
                      <a:pt x="118110" y="91221"/>
                    </a:cubicBezTo>
                    <a:cubicBezTo>
                      <a:pt x="118110" y="89592"/>
                      <a:pt x="118110" y="89592"/>
                      <a:pt x="118110" y="89592"/>
                    </a:cubicBezTo>
                    <a:cubicBezTo>
                      <a:pt x="118582" y="87420"/>
                      <a:pt x="118582" y="87420"/>
                      <a:pt x="118582" y="87420"/>
                    </a:cubicBezTo>
                    <a:cubicBezTo>
                      <a:pt x="116220" y="87420"/>
                      <a:pt x="116220" y="87420"/>
                      <a:pt x="116220" y="87420"/>
                    </a:cubicBezTo>
                    <a:cubicBezTo>
                      <a:pt x="114803" y="90135"/>
                      <a:pt x="114803" y="90135"/>
                      <a:pt x="114803" y="90135"/>
                    </a:cubicBezTo>
                    <a:cubicBezTo>
                      <a:pt x="114803" y="87420"/>
                      <a:pt x="114803" y="87420"/>
                      <a:pt x="114803" y="87420"/>
                    </a:cubicBezTo>
                    <a:cubicBezTo>
                      <a:pt x="112440" y="84705"/>
                      <a:pt x="112440" y="84705"/>
                      <a:pt x="112440" y="84705"/>
                    </a:cubicBezTo>
                    <a:cubicBezTo>
                      <a:pt x="112913" y="82533"/>
                      <a:pt x="112913" y="82533"/>
                      <a:pt x="112913" y="82533"/>
                    </a:cubicBezTo>
                    <a:cubicBezTo>
                      <a:pt x="113385" y="79276"/>
                      <a:pt x="113385" y="79276"/>
                      <a:pt x="113385" y="79276"/>
                    </a:cubicBezTo>
                    <a:cubicBezTo>
                      <a:pt x="111496" y="73303"/>
                      <a:pt x="111496" y="73303"/>
                      <a:pt x="111496" y="73303"/>
                    </a:cubicBezTo>
                    <a:cubicBezTo>
                      <a:pt x="109606" y="71131"/>
                      <a:pt x="109606" y="71131"/>
                      <a:pt x="109606" y="71131"/>
                    </a:cubicBezTo>
                    <a:cubicBezTo>
                      <a:pt x="103464" y="66244"/>
                      <a:pt x="103464" y="66244"/>
                      <a:pt x="103464" y="66244"/>
                    </a:cubicBezTo>
                    <a:cubicBezTo>
                      <a:pt x="102047" y="67330"/>
                      <a:pt x="102047" y="67330"/>
                      <a:pt x="102047" y="67330"/>
                    </a:cubicBezTo>
                    <a:cubicBezTo>
                      <a:pt x="98267" y="64072"/>
                      <a:pt x="98267" y="64072"/>
                      <a:pt x="98267" y="64072"/>
                    </a:cubicBezTo>
                    <a:cubicBezTo>
                      <a:pt x="95433" y="60814"/>
                      <a:pt x="95433" y="60814"/>
                      <a:pt x="95433" y="60814"/>
                    </a:cubicBezTo>
                    <a:cubicBezTo>
                      <a:pt x="95433" y="57556"/>
                      <a:pt x="95433" y="57556"/>
                      <a:pt x="95433" y="57556"/>
                    </a:cubicBezTo>
                    <a:cubicBezTo>
                      <a:pt x="96377" y="54298"/>
                      <a:pt x="96377" y="54298"/>
                      <a:pt x="96377" y="54298"/>
                    </a:cubicBezTo>
                    <a:cubicBezTo>
                      <a:pt x="96850" y="52126"/>
                      <a:pt x="96850" y="52126"/>
                      <a:pt x="96850" y="52126"/>
                    </a:cubicBezTo>
                    <a:cubicBezTo>
                      <a:pt x="97322" y="49411"/>
                      <a:pt x="97322" y="49411"/>
                      <a:pt x="97322" y="49411"/>
                    </a:cubicBezTo>
                    <a:cubicBezTo>
                      <a:pt x="98740" y="45610"/>
                      <a:pt x="98740" y="45610"/>
                      <a:pt x="98740" y="45610"/>
                    </a:cubicBezTo>
                    <a:cubicBezTo>
                      <a:pt x="97322" y="43438"/>
                      <a:pt x="97322" y="43438"/>
                      <a:pt x="97322" y="43438"/>
                    </a:cubicBezTo>
                    <a:cubicBezTo>
                      <a:pt x="95433" y="41266"/>
                      <a:pt x="95433" y="41266"/>
                      <a:pt x="95433" y="41266"/>
                    </a:cubicBezTo>
                    <a:cubicBezTo>
                      <a:pt x="92598" y="41266"/>
                      <a:pt x="92598" y="41266"/>
                      <a:pt x="92598" y="41266"/>
                    </a:cubicBezTo>
                    <a:cubicBezTo>
                      <a:pt x="91181" y="42352"/>
                      <a:pt x="91181" y="42352"/>
                      <a:pt x="91181" y="42352"/>
                    </a:cubicBezTo>
                    <a:cubicBezTo>
                      <a:pt x="90236" y="43981"/>
                      <a:pt x="90236" y="43981"/>
                      <a:pt x="90236" y="43981"/>
                    </a:cubicBezTo>
                    <a:cubicBezTo>
                      <a:pt x="87874" y="41266"/>
                      <a:pt x="87874" y="41266"/>
                      <a:pt x="87874" y="41266"/>
                    </a:cubicBezTo>
                    <a:cubicBezTo>
                      <a:pt x="87874" y="36380"/>
                      <a:pt x="87874" y="36380"/>
                      <a:pt x="87874" y="36380"/>
                    </a:cubicBezTo>
                    <a:cubicBezTo>
                      <a:pt x="85511" y="32579"/>
                      <a:pt x="85511" y="32579"/>
                      <a:pt x="85511" y="32579"/>
                    </a:cubicBezTo>
                    <a:cubicBezTo>
                      <a:pt x="77007" y="24434"/>
                      <a:pt x="77007" y="24434"/>
                      <a:pt x="77007" y="24434"/>
                    </a:cubicBezTo>
                    <a:cubicBezTo>
                      <a:pt x="73700" y="17918"/>
                      <a:pt x="73700" y="17918"/>
                      <a:pt x="73700" y="17918"/>
                    </a:cubicBezTo>
                    <a:cubicBezTo>
                      <a:pt x="73700" y="11945"/>
                      <a:pt x="73700" y="11945"/>
                      <a:pt x="73700" y="11945"/>
                    </a:cubicBezTo>
                    <a:cubicBezTo>
                      <a:pt x="73700" y="5972"/>
                      <a:pt x="73700" y="5972"/>
                      <a:pt x="73700" y="5972"/>
                    </a:cubicBezTo>
                    <a:cubicBezTo>
                      <a:pt x="74645" y="5429"/>
                      <a:pt x="74645" y="5429"/>
                      <a:pt x="74645" y="5429"/>
                    </a:cubicBezTo>
                    <a:cubicBezTo>
                      <a:pt x="68976" y="0"/>
                      <a:pt x="68976" y="0"/>
                      <a:pt x="68976" y="0"/>
                    </a:cubicBezTo>
                    <a:cubicBezTo>
                      <a:pt x="0" y="1085"/>
                      <a:pt x="0" y="1085"/>
                      <a:pt x="0" y="1085"/>
                    </a:cubicBezTo>
                    <a:cubicBezTo>
                      <a:pt x="472" y="2171"/>
                      <a:pt x="472" y="2171"/>
                      <a:pt x="472" y="2171"/>
                    </a:cubicBezTo>
                    <a:cubicBezTo>
                      <a:pt x="1889" y="3257"/>
                      <a:pt x="1889" y="3257"/>
                      <a:pt x="1889" y="3257"/>
                    </a:cubicBezTo>
                    <a:cubicBezTo>
                      <a:pt x="2362" y="5972"/>
                      <a:pt x="2362" y="5972"/>
                      <a:pt x="2362" y="5972"/>
                    </a:cubicBezTo>
                    <a:cubicBezTo>
                      <a:pt x="1417" y="7058"/>
                      <a:pt x="1417" y="7058"/>
                      <a:pt x="1417" y="7058"/>
                    </a:cubicBezTo>
                    <a:cubicBezTo>
                      <a:pt x="2362" y="8687"/>
                      <a:pt x="2362" y="8687"/>
                      <a:pt x="2362" y="8687"/>
                    </a:cubicBezTo>
                    <a:cubicBezTo>
                      <a:pt x="2362" y="8687"/>
                      <a:pt x="1889" y="8687"/>
                      <a:pt x="2362" y="9230"/>
                    </a:cubicBezTo>
                    <a:cubicBezTo>
                      <a:pt x="2834" y="9773"/>
                      <a:pt x="5196" y="10316"/>
                      <a:pt x="5196" y="10316"/>
                    </a:cubicBezTo>
                    <a:cubicBezTo>
                      <a:pt x="5669" y="13574"/>
                      <a:pt x="5669" y="13574"/>
                      <a:pt x="5669" y="13574"/>
                    </a:cubicBezTo>
                    <a:cubicBezTo>
                      <a:pt x="6614" y="15746"/>
                      <a:pt x="6614" y="15746"/>
                      <a:pt x="6614" y="15746"/>
                    </a:cubicBezTo>
                    <a:cubicBezTo>
                      <a:pt x="6614" y="15746"/>
                      <a:pt x="6614" y="15746"/>
                      <a:pt x="6614" y="15746"/>
                    </a:cubicBezTo>
                    <a:cubicBezTo>
                      <a:pt x="8503" y="19004"/>
                      <a:pt x="8503" y="19004"/>
                      <a:pt x="8503" y="19004"/>
                    </a:cubicBezTo>
                    <a:cubicBezTo>
                      <a:pt x="9448" y="21176"/>
                      <a:pt x="9448" y="21176"/>
                      <a:pt x="9448" y="21176"/>
                    </a:cubicBezTo>
                    <a:cubicBezTo>
                      <a:pt x="13700" y="21176"/>
                      <a:pt x="13700" y="21176"/>
                      <a:pt x="13700" y="21176"/>
                    </a:cubicBezTo>
                    <a:cubicBezTo>
                      <a:pt x="14645" y="21176"/>
                      <a:pt x="14645" y="21176"/>
                      <a:pt x="14645" y="21176"/>
                    </a:cubicBezTo>
                    <a:cubicBezTo>
                      <a:pt x="14645" y="23891"/>
                      <a:pt x="14645" y="23891"/>
                      <a:pt x="14645" y="23891"/>
                    </a:cubicBezTo>
                    <a:cubicBezTo>
                      <a:pt x="13228" y="27149"/>
                      <a:pt x="13228" y="27149"/>
                      <a:pt x="13228" y="27149"/>
                    </a:cubicBezTo>
                    <a:cubicBezTo>
                      <a:pt x="11811" y="29864"/>
                      <a:pt x="11811" y="29864"/>
                      <a:pt x="11811" y="29864"/>
                    </a:cubicBezTo>
                    <a:cubicBezTo>
                      <a:pt x="14645" y="33122"/>
                      <a:pt x="14645" y="33122"/>
                      <a:pt x="14645" y="33122"/>
                    </a:cubicBezTo>
                    <a:cubicBezTo>
                      <a:pt x="15590" y="36380"/>
                      <a:pt x="15590" y="36380"/>
                      <a:pt x="15590" y="36380"/>
                    </a:cubicBezTo>
                    <a:cubicBezTo>
                      <a:pt x="17007" y="37466"/>
                      <a:pt x="17007" y="37466"/>
                      <a:pt x="17007" y="37466"/>
                    </a:cubicBezTo>
                    <a:cubicBezTo>
                      <a:pt x="19842" y="39095"/>
                      <a:pt x="19842" y="39095"/>
                      <a:pt x="19842" y="39095"/>
                    </a:cubicBezTo>
                    <a:cubicBezTo>
                      <a:pt x="19842" y="95565"/>
                      <a:pt x="19842" y="95565"/>
                      <a:pt x="19842" y="95565"/>
                    </a:cubicBezTo>
                    <a:cubicBezTo>
                      <a:pt x="19842" y="109140"/>
                      <a:pt x="19842" y="109140"/>
                      <a:pt x="19842" y="109140"/>
                    </a:cubicBezTo>
                    <a:cubicBezTo>
                      <a:pt x="101574" y="106968"/>
                      <a:pt x="101574" y="106968"/>
                      <a:pt x="101574" y="106968"/>
                    </a:cubicBezTo>
                    <a:cubicBezTo>
                      <a:pt x="102047" y="110226"/>
                      <a:pt x="102047" y="110226"/>
                      <a:pt x="102047" y="110226"/>
                    </a:cubicBezTo>
                    <a:cubicBezTo>
                      <a:pt x="96850" y="120000"/>
                      <a:pt x="96850" y="120000"/>
                      <a:pt x="96850" y="120000"/>
                    </a:cubicBezTo>
                    <a:cubicBezTo>
                      <a:pt x="110078" y="118914"/>
                      <a:pt x="110078" y="118914"/>
                      <a:pt x="110078" y="118914"/>
                    </a:cubicBezTo>
                    <a:cubicBezTo>
                      <a:pt x="110551" y="117285"/>
                      <a:pt x="110551" y="117285"/>
                      <a:pt x="110551" y="117285"/>
                    </a:cubicBezTo>
                    <a:cubicBezTo>
                      <a:pt x="111496" y="115656"/>
                      <a:pt x="111496" y="115656"/>
                      <a:pt x="111496" y="115656"/>
                    </a:cubicBezTo>
                    <a:cubicBezTo>
                      <a:pt x="111496" y="115656"/>
                      <a:pt x="112440" y="115113"/>
                      <a:pt x="111968" y="114570"/>
                    </a:cubicBezTo>
                    <a:cubicBezTo>
                      <a:pt x="111968" y="114027"/>
                      <a:pt x="111023" y="112398"/>
                      <a:pt x="111023" y="112398"/>
                    </a:cubicBezTo>
                    <a:cubicBezTo>
                      <a:pt x="110551" y="111855"/>
                      <a:pt x="110551" y="111855"/>
                      <a:pt x="110551" y="111855"/>
                    </a:cubicBezTo>
                    <a:cubicBezTo>
                      <a:pt x="111023" y="110769"/>
                      <a:pt x="111023" y="110769"/>
                      <a:pt x="111023" y="110769"/>
                    </a:cubicBezTo>
                    <a:cubicBezTo>
                      <a:pt x="111968" y="110226"/>
                      <a:pt x="111968" y="110226"/>
                      <a:pt x="111968" y="110226"/>
                    </a:cubicBezTo>
                    <a:cubicBezTo>
                      <a:pt x="112440" y="108597"/>
                      <a:pt x="112440" y="108597"/>
                      <a:pt x="112440" y="108597"/>
                    </a:cubicBezTo>
                    <a:cubicBezTo>
                      <a:pt x="112440" y="106968"/>
                      <a:pt x="112440" y="106968"/>
                      <a:pt x="112440" y="106968"/>
                    </a:cubicBezTo>
                    <a:cubicBezTo>
                      <a:pt x="112440" y="105339"/>
                      <a:pt x="112440" y="105339"/>
                      <a:pt x="112440" y="105339"/>
                    </a:cubicBezTo>
                    <a:lnTo>
                      <a:pt x="112440" y="104796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21" name="Shape 1427">
                <a:extLst>
                  <a:ext uri="{FF2B5EF4-FFF2-40B4-BE49-F238E27FC236}">
                    <a16:creationId xmlns:a16="http://schemas.microsoft.com/office/drawing/2014/main" id="{862B59AE-BFDB-48F1-BB29-DF07798D65BC}"/>
                  </a:ext>
                </a:extLst>
              </p:cNvPr>
              <p:cNvSpPr/>
              <p:nvPr/>
            </p:nvSpPr>
            <p:spPr>
              <a:xfrm>
                <a:off x="8067797" y="1684993"/>
                <a:ext cx="849487" cy="988599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73846" y="69917"/>
                    </a:moveTo>
                    <a:lnTo>
                      <a:pt x="80192" y="66942"/>
                    </a:lnTo>
                    <a:lnTo>
                      <a:pt x="80192" y="55041"/>
                    </a:lnTo>
                    <a:lnTo>
                      <a:pt x="83076" y="53057"/>
                    </a:lnTo>
                    <a:lnTo>
                      <a:pt x="92884" y="45123"/>
                    </a:lnTo>
                    <a:lnTo>
                      <a:pt x="97500" y="39669"/>
                    </a:lnTo>
                    <a:lnTo>
                      <a:pt x="106730" y="34214"/>
                    </a:lnTo>
                    <a:lnTo>
                      <a:pt x="120000" y="27272"/>
                    </a:lnTo>
                    <a:lnTo>
                      <a:pt x="115384" y="26280"/>
                    </a:lnTo>
                    <a:lnTo>
                      <a:pt x="105576" y="25785"/>
                    </a:lnTo>
                    <a:lnTo>
                      <a:pt x="97500" y="24297"/>
                    </a:lnTo>
                    <a:lnTo>
                      <a:pt x="95769" y="25785"/>
                    </a:lnTo>
                    <a:lnTo>
                      <a:pt x="93461" y="27272"/>
                    </a:lnTo>
                    <a:lnTo>
                      <a:pt x="88846" y="27272"/>
                    </a:lnTo>
                    <a:lnTo>
                      <a:pt x="87115" y="25289"/>
                    </a:lnTo>
                    <a:lnTo>
                      <a:pt x="84807" y="23801"/>
                    </a:lnTo>
                    <a:lnTo>
                      <a:pt x="78461" y="22314"/>
                    </a:lnTo>
                    <a:lnTo>
                      <a:pt x="76730" y="22314"/>
                    </a:lnTo>
                    <a:lnTo>
                      <a:pt x="74423" y="21322"/>
                    </a:lnTo>
                    <a:lnTo>
                      <a:pt x="73846" y="20826"/>
                    </a:lnTo>
                    <a:lnTo>
                      <a:pt x="68653" y="20330"/>
                    </a:lnTo>
                    <a:lnTo>
                      <a:pt x="65769" y="17851"/>
                    </a:lnTo>
                    <a:lnTo>
                      <a:pt x="69230" y="19338"/>
                    </a:lnTo>
                    <a:lnTo>
                      <a:pt x="70961" y="17851"/>
                    </a:lnTo>
                    <a:lnTo>
                      <a:pt x="68653" y="17355"/>
                    </a:lnTo>
                    <a:lnTo>
                      <a:pt x="65769" y="17355"/>
                    </a:lnTo>
                    <a:lnTo>
                      <a:pt x="62884" y="17355"/>
                    </a:lnTo>
                    <a:lnTo>
                      <a:pt x="60576" y="17355"/>
                    </a:lnTo>
                    <a:lnTo>
                      <a:pt x="57692" y="17355"/>
                    </a:lnTo>
                    <a:lnTo>
                      <a:pt x="55961" y="19338"/>
                    </a:lnTo>
                    <a:lnTo>
                      <a:pt x="53653" y="19338"/>
                    </a:lnTo>
                    <a:lnTo>
                      <a:pt x="50192" y="16859"/>
                    </a:lnTo>
                    <a:lnTo>
                      <a:pt x="48461" y="16859"/>
                    </a:lnTo>
                    <a:lnTo>
                      <a:pt x="46153" y="16859"/>
                    </a:lnTo>
                    <a:lnTo>
                      <a:pt x="42115" y="15867"/>
                    </a:lnTo>
                    <a:lnTo>
                      <a:pt x="39230" y="11900"/>
                    </a:lnTo>
                    <a:lnTo>
                      <a:pt x="39230" y="11900"/>
                    </a:lnTo>
                    <a:lnTo>
                      <a:pt x="38076" y="9917"/>
                    </a:lnTo>
                    <a:lnTo>
                      <a:pt x="35769" y="9917"/>
                    </a:lnTo>
                    <a:lnTo>
                      <a:pt x="33461" y="9917"/>
                    </a:lnTo>
                    <a:lnTo>
                      <a:pt x="31730" y="9917"/>
                    </a:lnTo>
                    <a:lnTo>
                      <a:pt x="31153" y="7933"/>
                    </a:lnTo>
                    <a:lnTo>
                      <a:pt x="32884" y="5950"/>
                    </a:lnTo>
                    <a:lnTo>
                      <a:pt x="33461" y="3966"/>
                    </a:lnTo>
                    <a:lnTo>
                      <a:pt x="35769" y="2479"/>
                    </a:lnTo>
                    <a:lnTo>
                      <a:pt x="34615" y="991"/>
                    </a:lnTo>
                    <a:lnTo>
                      <a:pt x="34615" y="991"/>
                    </a:lnTo>
                    <a:lnTo>
                      <a:pt x="32307" y="0"/>
                    </a:lnTo>
                    <a:lnTo>
                      <a:pt x="32307" y="4958"/>
                    </a:lnTo>
                    <a:lnTo>
                      <a:pt x="31153" y="5950"/>
                    </a:lnTo>
                    <a:lnTo>
                      <a:pt x="30000" y="7933"/>
                    </a:lnTo>
                    <a:lnTo>
                      <a:pt x="0" y="7933"/>
                    </a:lnTo>
                    <a:lnTo>
                      <a:pt x="576" y="9917"/>
                    </a:lnTo>
                    <a:lnTo>
                      <a:pt x="576" y="11404"/>
                    </a:lnTo>
                    <a:lnTo>
                      <a:pt x="576" y="11900"/>
                    </a:lnTo>
                    <a:lnTo>
                      <a:pt x="2307" y="12892"/>
                    </a:lnTo>
                    <a:lnTo>
                      <a:pt x="2307" y="14876"/>
                    </a:lnTo>
                    <a:lnTo>
                      <a:pt x="1730" y="15371"/>
                    </a:lnTo>
                    <a:lnTo>
                      <a:pt x="576" y="16363"/>
                    </a:lnTo>
                    <a:lnTo>
                      <a:pt x="576" y="16859"/>
                    </a:lnTo>
                    <a:lnTo>
                      <a:pt x="576" y="18842"/>
                    </a:lnTo>
                    <a:lnTo>
                      <a:pt x="1153" y="19834"/>
                    </a:lnTo>
                    <a:lnTo>
                      <a:pt x="1730" y="22314"/>
                    </a:lnTo>
                    <a:lnTo>
                      <a:pt x="576" y="25289"/>
                    </a:lnTo>
                    <a:lnTo>
                      <a:pt x="1730" y="27768"/>
                    </a:lnTo>
                    <a:lnTo>
                      <a:pt x="3461" y="31735"/>
                    </a:lnTo>
                    <a:lnTo>
                      <a:pt x="5192" y="34710"/>
                    </a:lnTo>
                    <a:lnTo>
                      <a:pt x="5192" y="38677"/>
                    </a:lnTo>
                    <a:lnTo>
                      <a:pt x="5769" y="45619"/>
                    </a:lnTo>
                    <a:lnTo>
                      <a:pt x="5769" y="51570"/>
                    </a:lnTo>
                    <a:lnTo>
                      <a:pt x="5769" y="55537"/>
                    </a:lnTo>
                    <a:lnTo>
                      <a:pt x="6923" y="56528"/>
                    </a:lnTo>
                    <a:lnTo>
                      <a:pt x="6923" y="57520"/>
                    </a:lnTo>
                    <a:lnTo>
                      <a:pt x="6923" y="60495"/>
                    </a:lnTo>
                    <a:lnTo>
                      <a:pt x="8653" y="61487"/>
                    </a:lnTo>
                    <a:lnTo>
                      <a:pt x="9807" y="62975"/>
                    </a:lnTo>
                    <a:lnTo>
                      <a:pt x="10384" y="65454"/>
                    </a:lnTo>
                    <a:lnTo>
                      <a:pt x="10384" y="67438"/>
                    </a:lnTo>
                    <a:lnTo>
                      <a:pt x="10384" y="69917"/>
                    </a:lnTo>
                    <a:lnTo>
                      <a:pt x="9230" y="70413"/>
                    </a:lnTo>
                    <a:lnTo>
                      <a:pt x="9230" y="70413"/>
                    </a:lnTo>
                    <a:lnTo>
                      <a:pt x="9807" y="71404"/>
                    </a:lnTo>
                    <a:lnTo>
                      <a:pt x="7500" y="72892"/>
                    </a:lnTo>
                    <a:lnTo>
                      <a:pt x="6346" y="74380"/>
                    </a:lnTo>
                    <a:lnTo>
                      <a:pt x="4615" y="75371"/>
                    </a:lnTo>
                    <a:lnTo>
                      <a:pt x="4615" y="76363"/>
                    </a:lnTo>
                    <a:lnTo>
                      <a:pt x="4615" y="77355"/>
                    </a:lnTo>
                    <a:lnTo>
                      <a:pt x="5192" y="78347"/>
                    </a:lnTo>
                    <a:lnTo>
                      <a:pt x="6923" y="79338"/>
                    </a:lnTo>
                    <a:lnTo>
                      <a:pt x="6923" y="80826"/>
                    </a:lnTo>
                    <a:lnTo>
                      <a:pt x="9807" y="81322"/>
                    </a:lnTo>
                    <a:lnTo>
                      <a:pt x="10384" y="82809"/>
                    </a:lnTo>
                    <a:lnTo>
                      <a:pt x="12115" y="83801"/>
                    </a:lnTo>
                    <a:lnTo>
                      <a:pt x="10384" y="120000"/>
                    </a:lnTo>
                    <a:lnTo>
                      <a:pt x="99230" y="118512"/>
                    </a:lnTo>
                    <a:lnTo>
                      <a:pt x="99807" y="115537"/>
                    </a:lnTo>
                    <a:lnTo>
                      <a:pt x="99230" y="112561"/>
                    </a:lnTo>
                    <a:lnTo>
                      <a:pt x="95769" y="109090"/>
                    </a:lnTo>
                    <a:lnTo>
                      <a:pt x="92307" y="107107"/>
                    </a:lnTo>
                    <a:lnTo>
                      <a:pt x="90576" y="105619"/>
                    </a:lnTo>
                    <a:lnTo>
                      <a:pt x="86538" y="101157"/>
                    </a:lnTo>
                    <a:lnTo>
                      <a:pt x="79615" y="97685"/>
                    </a:lnTo>
                    <a:lnTo>
                      <a:pt x="75000" y="95702"/>
                    </a:lnTo>
                    <a:lnTo>
                      <a:pt x="72115" y="93719"/>
                    </a:lnTo>
                    <a:lnTo>
                      <a:pt x="72692" y="86280"/>
                    </a:lnTo>
                    <a:lnTo>
                      <a:pt x="73846" y="78842"/>
                    </a:lnTo>
                    <a:lnTo>
                      <a:pt x="72692" y="78842"/>
                    </a:lnTo>
                    <a:lnTo>
                      <a:pt x="70384" y="76363"/>
                    </a:lnTo>
                    <a:lnTo>
                      <a:pt x="72692" y="71900"/>
                    </a:lnTo>
                    <a:lnTo>
                      <a:pt x="73846" y="69917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cxnSp>
            <p:nvCxnSpPr>
              <p:cNvPr id="122" name="Shape 1428">
                <a:extLst>
                  <a:ext uri="{FF2B5EF4-FFF2-40B4-BE49-F238E27FC236}">
                    <a16:creationId xmlns:a16="http://schemas.microsoft.com/office/drawing/2014/main" id="{C00B408C-0E6A-483C-9B82-818D5D97E011}"/>
                  </a:ext>
                </a:extLst>
              </p:cNvPr>
              <p:cNvCxnSpPr/>
              <p:nvPr/>
            </p:nvCxnSpPr>
            <p:spPr>
              <a:xfrm>
                <a:off x="8647736" y="2154783"/>
                <a:ext cx="0" cy="0"/>
              </a:xfrm>
              <a:prstGeom prst="straightConnector1">
                <a:avLst/>
              </a:prstGeom>
              <a:grpFill/>
              <a:ln w="317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123" name="Shape 1429">
                <a:extLst>
                  <a:ext uri="{FF2B5EF4-FFF2-40B4-BE49-F238E27FC236}">
                    <a16:creationId xmlns:a16="http://schemas.microsoft.com/office/drawing/2014/main" id="{4FC4205F-B8E7-4319-8974-88BB12039CB4}"/>
                  </a:ext>
                </a:extLst>
              </p:cNvPr>
              <p:cNvCxnSpPr/>
              <p:nvPr/>
            </p:nvCxnSpPr>
            <p:spPr>
              <a:xfrm>
                <a:off x="8647736" y="2154783"/>
                <a:ext cx="0" cy="0"/>
              </a:xfrm>
              <a:prstGeom prst="straightConnector1">
                <a:avLst/>
              </a:pr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</p:cxnSp>
          <p:sp>
            <p:nvSpPr>
              <p:cNvPr id="124" name="Shape 1430">
                <a:extLst>
                  <a:ext uri="{FF2B5EF4-FFF2-40B4-BE49-F238E27FC236}">
                    <a16:creationId xmlns:a16="http://schemas.microsoft.com/office/drawing/2014/main" id="{E6C16A8F-E978-4966-A393-BEC4F5B990EE}"/>
                  </a:ext>
                </a:extLst>
              </p:cNvPr>
              <p:cNvSpPr/>
              <p:nvPr/>
            </p:nvSpPr>
            <p:spPr>
              <a:xfrm>
                <a:off x="8847856" y="1975036"/>
                <a:ext cx="992428" cy="935494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0" y="22666"/>
                    </a:moveTo>
                    <a:cubicBezTo>
                      <a:pt x="836" y="21777"/>
                      <a:pt x="836" y="21777"/>
                      <a:pt x="836" y="21777"/>
                    </a:cubicBezTo>
                    <a:cubicBezTo>
                      <a:pt x="2508" y="21777"/>
                      <a:pt x="2508" y="21777"/>
                      <a:pt x="2508" y="21777"/>
                    </a:cubicBezTo>
                    <a:cubicBezTo>
                      <a:pt x="4599" y="20444"/>
                      <a:pt x="4599" y="20444"/>
                      <a:pt x="4599" y="20444"/>
                    </a:cubicBezTo>
                    <a:cubicBezTo>
                      <a:pt x="5017" y="19555"/>
                      <a:pt x="5017" y="19555"/>
                      <a:pt x="5017" y="19555"/>
                    </a:cubicBezTo>
                    <a:cubicBezTo>
                      <a:pt x="5853" y="17777"/>
                      <a:pt x="5853" y="17777"/>
                      <a:pt x="5853" y="17777"/>
                    </a:cubicBezTo>
                    <a:cubicBezTo>
                      <a:pt x="7108" y="16444"/>
                      <a:pt x="7108" y="16444"/>
                      <a:pt x="7108" y="16444"/>
                    </a:cubicBezTo>
                    <a:cubicBezTo>
                      <a:pt x="8362" y="16000"/>
                      <a:pt x="8362" y="16000"/>
                      <a:pt x="8362" y="16000"/>
                    </a:cubicBezTo>
                    <a:cubicBezTo>
                      <a:pt x="9616" y="16000"/>
                      <a:pt x="9616" y="16000"/>
                      <a:pt x="9616" y="16000"/>
                    </a:cubicBezTo>
                    <a:cubicBezTo>
                      <a:pt x="12125" y="16000"/>
                      <a:pt x="12125" y="16000"/>
                      <a:pt x="12125" y="16000"/>
                    </a:cubicBezTo>
                    <a:cubicBezTo>
                      <a:pt x="13379" y="15111"/>
                      <a:pt x="13379" y="15111"/>
                      <a:pt x="13379" y="15111"/>
                    </a:cubicBezTo>
                    <a:cubicBezTo>
                      <a:pt x="17560" y="12000"/>
                      <a:pt x="17560" y="12000"/>
                      <a:pt x="17560" y="12000"/>
                    </a:cubicBezTo>
                    <a:cubicBezTo>
                      <a:pt x="18815" y="11555"/>
                      <a:pt x="18815" y="11555"/>
                      <a:pt x="18815" y="11555"/>
                    </a:cubicBezTo>
                    <a:cubicBezTo>
                      <a:pt x="20487" y="9777"/>
                      <a:pt x="20487" y="9777"/>
                      <a:pt x="20487" y="9777"/>
                    </a:cubicBezTo>
                    <a:cubicBezTo>
                      <a:pt x="21742" y="7555"/>
                      <a:pt x="21742" y="7555"/>
                      <a:pt x="21742" y="7555"/>
                    </a:cubicBezTo>
                    <a:cubicBezTo>
                      <a:pt x="23414" y="6222"/>
                      <a:pt x="23414" y="6222"/>
                      <a:pt x="23414" y="6222"/>
                    </a:cubicBezTo>
                    <a:cubicBezTo>
                      <a:pt x="25505" y="4000"/>
                      <a:pt x="25505" y="4000"/>
                      <a:pt x="25505" y="4000"/>
                    </a:cubicBezTo>
                    <a:cubicBezTo>
                      <a:pt x="27177" y="1777"/>
                      <a:pt x="27177" y="1777"/>
                      <a:pt x="27177" y="1777"/>
                    </a:cubicBezTo>
                    <a:cubicBezTo>
                      <a:pt x="29268" y="444"/>
                      <a:pt x="29268" y="444"/>
                      <a:pt x="29268" y="444"/>
                    </a:cubicBezTo>
                    <a:cubicBezTo>
                      <a:pt x="32195" y="0"/>
                      <a:pt x="32195" y="0"/>
                      <a:pt x="32195" y="0"/>
                    </a:cubicBezTo>
                    <a:cubicBezTo>
                      <a:pt x="33449" y="0"/>
                      <a:pt x="33449" y="0"/>
                      <a:pt x="33449" y="0"/>
                    </a:cubicBezTo>
                    <a:cubicBezTo>
                      <a:pt x="35540" y="888"/>
                      <a:pt x="35540" y="888"/>
                      <a:pt x="35540" y="888"/>
                    </a:cubicBezTo>
                    <a:cubicBezTo>
                      <a:pt x="34703" y="1333"/>
                      <a:pt x="34703" y="1333"/>
                      <a:pt x="34703" y="1333"/>
                    </a:cubicBezTo>
                    <a:cubicBezTo>
                      <a:pt x="33031" y="2222"/>
                      <a:pt x="33031" y="2222"/>
                      <a:pt x="33031" y="2222"/>
                    </a:cubicBezTo>
                    <a:cubicBezTo>
                      <a:pt x="31358" y="2666"/>
                      <a:pt x="31358" y="2666"/>
                      <a:pt x="31358" y="2666"/>
                    </a:cubicBezTo>
                    <a:cubicBezTo>
                      <a:pt x="31777" y="3555"/>
                      <a:pt x="31777" y="3555"/>
                      <a:pt x="31777" y="3555"/>
                    </a:cubicBezTo>
                    <a:cubicBezTo>
                      <a:pt x="29268" y="6222"/>
                      <a:pt x="29268" y="6222"/>
                      <a:pt x="29268" y="6222"/>
                    </a:cubicBezTo>
                    <a:cubicBezTo>
                      <a:pt x="29268" y="6222"/>
                      <a:pt x="28432" y="6222"/>
                      <a:pt x="28432" y="6666"/>
                    </a:cubicBezTo>
                    <a:cubicBezTo>
                      <a:pt x="28432" y="7111"/>
                      <a:pt x="27177" y="10222"/>
                      <a:pt x="27177" y="10222"/>
                    </a:cubicBezTo>
                    <a:cubicBezTo>
                      <a:pt x="27177" y="8444"/>
                      <a:pt x="27177" y="8444"/>
                      <a:pt x="27177" y="8444"/>
                    </a:cubicBezTo>
                    <a:cubicBezTo>
                      <a:pt x="26341" y="7555"/>
                      <a:pt x="26341" y="7555"/>
                      <a:pt x="26341" y="7555"/>
                    </a:cubicBezTo>
                    <a:cubicBezTo>
                      <a:pt x="25923" y="12000"/>
                      <a:pt x="25923" y="12000"/>
                      <a:pt x="25923" y="12000"/>
                    </a:cubicBezTo>
                    <a:cubicBezTo>
                      <a:pt x="25923" y="14666"/>
                      <a:pt x="25923" y="14666"/>
                      <a:pt x="25923" y="14666"/>
                    </a:cubicBezTo>
                    <a:cubicBezTo>
                      <a:pt x="27177" y="13777"/>
                      <a:pt x="27177" y="13777"/>
                      <a:pt x="27177" y="13777"/>
                    </a:cubicBezTo>
                    <a:cubicBezTo>
                      <a:pt x="28013" y="12888"/>
                      <a:pt x="28013" y="12888"/>
                      <a:pt x="28013" y="12888"/>
                    </a:cubicBezTo>
                    <a:cubicBezTo>
                      <a:pt x="28432" y="12888"/>
                      <a:pt x="28432" y="12888"/>
                      <a:pt x="28432" y="12888"/>
                    </a:cubicBezTo>
                    <a:cubicBezTo>
                      <a:pt x="28850" y="13777"/>
                      <a:pt x="28850" y="13777"/>
                      <a:pt x="28850" y="13777"/>
                    </a:cubicBezTo>
                    <a:cubicBezTo>
                      <a:pt x="30104" y="13777"/>
                      <a:pt x="30104" y="13777"/>
                      <a:pt x="30104" y="13777"/>
                    </a:cubicBezTo>
                    <a:cubicBezTo>
                      <a:pt x="30940" y="13333"/>
                      <a:pt x="30940" y="13333"/>
                      <a:pt x="30940" y="13333"/>
                    </a:cubicBezTo>
                    <a:cubicBezTo>
                      <a:pt x="32195" y="12444"/>
                      <a:pt x="32195" y="12444"/>
                      <a:pt x="32195" y="12444"/>
                    </a:cubicBezTo>
                    <a:cubicBezTo>
                      <a:pt x="34285" y="12888"/>
                      <a:pt x="34285" y="12888"/>
                      <a:pt x="34285" y="12888"/>
                    </a:cubicBezTo>
                    <a:cubicBezTo>
                      <a:pt x="38466" y="15111"/>
                      <a:pt x="38466" y="15111"/>
                      <a:pt x="38466" y="15111"/>
                    </a:cubicBezTo>
                    <a:cubicBezTo>
                      <a:pt x="40975" y="18222"/>
                      <a:pt x="40975" y="18222"/>
                      <a:pt x="40975" y="18222"/>
                    </a:cubicBezTo>
                    <a:cubicBezTo>
                      <a:pt x="42648" y="19555"/>
                      <a:pt x="42648" y="19555"/>
                      <a:pt x="42648" y="19555"/>
                    </a:cubicBezTo>
                    <a:cubicBezTo>
                      <a:pt x="46411" y="20000"/>
                      <a:pt x="46411" y="20000"/>
                      <a:pt x="46411" y="20000"/>
                    </a:cubicBezTo>
                    <a:cubicBezTo>
                      <a:pt x="47665" y="19555"/>
                      <a:pt x="47665" y="19555"/>
                      <a:pt x="47665" y="19555"/>
                    </a:cubicBezTo>
                    <a:cubicBezTo>
                      <a:pt x="50592" y="20444"/>
                      <a:pt x="50592" y="20444"/>
                      <a:pt x="50592" y="20444"/>
                    </a:cubicBezTo>
                    <a:cubicBezTo>
                      <a:pt x="53101" y="21333"/>
                      <a:pt x="53101" y="21333"/>
                      <a:pt x="53101" y="21333"/>
                    </a:cubicBezTo>
                    <a:cubicBezTo>
                      <a:pt x="54355" y="19555"/>
                      <a:pt x="54355" y="19555"/>
                      <a:pt x="54355" y="19555"/>
                    </a:cubicBezTo>
                    <a:cubicBezTo>
                      <a:pt x="56445" y="17333"/>
                      <a:pt x="56445" y="17333"/>
                      <a:pt x="56445" y="17333"/>
                    </a:cubicBezTo>
                    <a:cubicBezTo>
                      <a:pt x="58118" y="15555"/>
                      <a:pt x="58118" y="15555"/>
                      <a:pt x="58118" y="15555"/>
                    </a:cubicBezTo>
                    <a:cubicBezTo>
                      <a:pt x="61881" y="14666"/>
                      <a:pt x="61881" y="14666"/>
                      <a:pt x="61881" y="14666"/>
                    </a:cubicBezTo>
                    <a:cubicBezTo>
                      <a:pt x="64390" y="13777"/>
                      <a:pt x="64390" y="13777"/>
                      <a:pt x="64390" y="13777"/>
                    </a:cubicBezTo>
                    <a:cubicBezTo>
                      <a:pt x="66898" y="13777"/>
                      <a:pt x="66898" y="13777"/>
                      <a:pt x="66898" y="13777"/>
                    </a:cubicBezTo>
                    <a:cubicBezTo>
                      <a:pt x="70662" y="12444"/>
                      <a:pt x="70662" y="12444"/>
                      <a:pt x="70662" y="12444"/>
                    </a:cubicBezTo>
                    <a:cubicBezTo>
                      <a:pt x="73170" y="11555"/>
                      <a:pt x="73170" y="11555"/>
                      <a:pt x="73170" y="11555"/>
                    </a:cubicBezTo>
                    <a:cubicBezTo>
                      <a:pt x="74425" y="12444"/>
                      <a:pt x="74425" y="12444"/>
                      <a:pt x="74425" y="12444"/>
                    </a:cubicBezTo>
                    <a:cubicBezTo>
                      <a:pt x="75261" y="16000"/>
                      <a:pt x="75261" y="16000"/>
                      <a:pt x="75261" y="16000"/>
                    </a:cubicBezTo>
                    <a:cubicBezTo>
                      <a:pt x="79860" y="16888"/>
                      <a:pt x="79860" y="16888"/>
                      <a:pt x="79860" y="16888"/>
                    </a:cubicBezTo>
                    <a:cubicBezTo>
                      <a:pt x="82787" y="16888"/>
                      <a:pt x="82787" y="16888"/>
                      <a:pt x="82787" y="16888"/>
                    </a:cubicBezTo>
                    <a:cubicBezTo>
                      <a:pt x="84878" y="17333"/>
                      <a:pt x="84878" y="17333"/>
                      <a:pt x="84878" y="17333"/>
                    </a:cubicBezTo>
                    <a:cubicBezTo>
                      <a:pt x="86550" y="19555"/>
                      <a:pt x="86550" y="19555"/>
                      <a:pt x="86550" y="19555"/>
                    </a:cubicBezTo>
                    <a:cubicBezTo>
                      <a:pt x="89059" y="22666"/>
                      <a:pt x="89059" y="22666"/>
                      <a:pt x="89059" y="22666"/>
                    </a:cubicBezTo>
                    <a:cubicBezTo>
                      <a:pt x="89895" y="23555"/>
                      <a:pt x="89895" y="23555"/>
                      <a:pt x="89895" y="23555"/>
                    </a:cubicBezTo>
                    <a:cubicBezTo>
                      <a:pt x="89895" y="23555"/>
                      <a:pt x="90313" y="24000"/>
                      <a:pt x="90731" y="24444"/>
                    </a:cubicBezTo>
                    <a:cubicBezTo>
                      <a:pt x="91149" y="24888"/>
                      <a:pt x="91567" y="25777"/>
                      <a:pt x="91567" y="25777"/>
                    </a:cubicBezTo>
                    <a:cubicBezTo>
                      <a:pt x="93658" y="26222"/>
                      <a:pt x="93658" y="26222"/>
                      <a:pt x="93658" y="26222"/>
                    </a:cubicBezTo>
                    <a:cubicBezTo>
                      <a:pt x="93658" y="26222"/>
                      <a:pt x="94494" y="25333"/>
                      <a:pt x="94494" y="25333"/>
                    </a:cubicBezTo>
                    <a:cubicBezTo>
                      <a:pt x="94494" y="24888"/>
                      <a:pt x="96167" y="24000"/>
                      <a:pt x="96167" y="24000"/>
                    </a:cubicBezTo>
                    <a:cubicBezTo>
                      <a:pt x="97003" y="24888"/>
                      <a:pt x="97003" y="24888"/>
                      <a:pt x="97003" y="24888"/>
                    </a:cubicBezTo>
                    <a:cubicBezTo>
                      <a:pt x="97003" y="24888"/>
                      <a:pt x="97839" y="25333"/>
                      <a:pt x="97003" y="25777"/>
                    </a:cubicBezTo>
                    <a:cubicBezTo>
                      <a:pt x="96585" y="25777"/>
                      <a:pt x="96167" y="26666"/>
                      <a:pt x="95749" y="26666"/>
                    </a:cubicBezTo>
                    <a:cubicBezTo>
                      <a:pt x="94912" y="26666"/>
                      <a:pt x="94076" y="26666"/>
                      <a:pt x="94076" y="26666"/>
                    </a:cubicBezTo>
                    <a:cubicBezTo>
                      <a:pt x="92404" y="26666"/>
                      <a:pt x="92404" y="26666"/>
                      <a:pt x="92404" y="26666"/>
                    </a:cubicBezTo>
                    <a:cubicBezTo>
                      <a:pt x="91567" y="27555"/>
                      <a:pt x="91567" y="27555"/>
                      <a:pt x="91567" y="27555"/>
                    </a:cubicBezTo>
                    <a:cubicBezTo>
                      <a:pt x="86968" y="27555"/>
                      <a:pt x="86968" y="27555"/>
                      <a:pt x="86968" y="27555"/>
                    </a:cubicBezTo>
                    <a:cubicBezTo>
                      <a:pt x="85714" y="28000"/>
                      <a:pt x="85714" y="28000"/>
                      <a:pt x="85714" y="28000"/>
                    </a:cubicBezTo>
                    <a:cubicBezTo>
                      <a:pt x="84041" y="27111"/>
                      <a:pt x="84041" y="27111"/>
                      <a:pt x="84041" y="27111"/>
                    </a:cubicBezTo>
                    <a:cubicBezTo>
                      <a:pt x="82369" y="26222"/>
                      <a:pt x="82369" y="26222"/>
                      <a:pt x="82369" y="26222"/>
                    </a:cubicBezTo>
                    <a:cubicBezTo>
                      <a:pt x="80696" y="28444"/>
                      <a:pt x="80696" y="28444"/>
                      <a:pt x="80696" y="28444"/>
                    </a:cubicBezTo>
                    <a:cubicBezTo>
                      <a:pt x="81114" y="29777"/>
                      <a:pt x="81114" y="29777"/>
                      <a:pt x="81114" y="29777"/>
                    </a:cubicBezTo>
                    <a:cubicBezTo>
                      <a:pt x="81114" y="30666"/>
                      <a:pt x="81114" y="30666"/>
                      <a:pt x="81114" y="30666"/>
                    </a:cubicBezTo>
                    <a:cubicBezTo>
                      <a:pt x="81114" y="30666"/>
                      <a:pt x="81114" y="31555"/>
                      <a:pt x="81533" y="31555"/>
                    </a:cubicBezTo>
                    <a:cubicBezTo>
                      <a:pt x="81533" y="31555"/>
                      <a:pt x="81951" y="32000"/>
                      <a:pt x="81951" y="32000"/>
                    </a:cubicBezTo>
                    <a:cubicBezTo>
                      <a:pt x="84041" y="32888"/>
                      <a:pt x="84041" y="32888"/>
                      <a:pt x="84041" y="32888"/>
                    </a:cubicBezTo>
                    <a:cubicBezTo>
                      <a:pt x="84878" y="32000"/>
                      <a:pt x="84878" y="32000"/>
                      <a:pt x="84878" y="32000"/>
                    </a:cubicBezTo>
                    <a:cubicBezTo>
                      <a:pt x="84878" y="32000"/>
                      <a:pt x="83623" y="31111"/>
                      <a:pt x="84041" y="31111"/>
                    </a:cubicBezTo>
                    <a:cubicBezTo>
                      <a:pt x="84459" y="31111"/>
                      <a:pt x="86132" y="32000"/>
                      <a:pt x="86132" y="32000"/>
                    </a:cubicBezTo>
                    <a:cubicBezTo>
                      <a:pt x="86132" y="32000"/>
                      <a:pt x="85714" y="32888"/>
                      <a:pt x="85714" y="32888"/>
                    </a:cubicBezTo>
                    <a:cubicBezTo>
                      <a:pt x="85296" y="33333"/>
                      <a:pt x="85296" y="33333"/>
                      <a:pt x="85296" y="33333"/>
                    </a:cubicBezTo>
                    <a:cubicBezTo>
                      <a:pt x="85714" y="33777"/>
                      <a:pt x="87804" y="34222"/>
                      <a:pt x="87804" y="34222"/>
                    </a:cubicBezTo>
                    <a:cubicBezTo>
                      <a:pt x="88222" y="34222"/>
                      <a:pt x="89477" y="35111"/>
                      <a:pt x="89477" y="35111"/>
                    </a:cubicBezTo>
                    <a:cubicBezTo>
                      <a:pt x="91567" y="36444"/>
                      <a:pt x="91567" y="36444"/>
                      <a:pt x="91567" y="36444"/>
                    </a:cubicBezTo>
                    <a:cubicBezTo>
                      <a:pt x="94494" y="37777"/>
                      <a:pt x="94494" y="37777"/>
                      <a:pt x="94494" y="37777"/>
                    </a:cubicBezTo>
                    <a:cubicBezTo>
                      <a:pt x="97839" y="39111"/>
                      <a:pt x="97839" y="39111"/>
                      <a:pt x="97839" y="39111"/>
                    </a:cubicBezTo>
                    <a:cubicBezTo>
                      <a:pt x="101184" y="42666"/>
                      <a:pt x="101184" y="42666"/>
                      <a:pt x="101184" y="42666"/>
                    </a:cubicBezTo>
                    <a:cubicBezTo>
                      <a:pt x="102857" y="44888"/>
                      <a:pt x="102857" y="44888"/>
                      <a:pt x="102857" y="44888"/>
                    </a:cubicBezTo>
                    <a:cubicBezTo>
                      <a:pt x="102020" y="45777"/>
                      <a:pt x="102020" y="45777"/>
                      <a:pt x="102020" y="45777"/>
                    </a:cubicBezTo>
                    <a:cubicBezTo>
                      <a:pt x="102020" y="45777"/>
                      <a:pt x="101602" y="45777"/>
                      <a:pt x="101602" y="46222"/>
                    </a:cubicBezTo>
                    <a:cubicBezTo>
                      <a:pt x="102020" y="46666"/>
                      <a:pt x="102857" y="48444"/>
                      <a:pt x="102857" y="48444"/>
                    </a:cubicBezTo>
                    <a:cubicBezTo>
                      <a:pt x="102439" y="48888"/>
                      <a:pt x="103275" y="50222"/>
                      <a:pt x="103275" y="50222"/>
                    </a:cubicBezTo>
                    <a:cubicBezTo>
                      <a:pt x="104111" y="55111"/>
                      <a:pt x="104111" y="55111"/>
                      <a:pt x="104111" y="55111"/>
                    </a:cubicBezTo>
                    <a:cubicBezTo>
                      <a:pt x="104529" y="57777"/>
                      <a:pt x="104529" y="57777"/>
                      <a:pt x="104529" y="57777"/>
                    </a:cubicBezTo>
                    <a:cubicBezTo>
                      <a:pt x="104111" y="60444"/>
                      <a:pt x="104111" y="60444"/>
                      <a:pt x="104111" y="60444"/>
                    </a:cubicBezTo>
                    <a:cubicBezTo>
                      <a:pt x="102439" y="62666"/>
                      <a:pt x="102439" y="62666"/>
                      <a:pt x="102439" y="62666"/>
                    </a:cubicBezTo>
                    <a:cubicBezTo>
                      <a:pt x="101184" y="65333"/>
                      <a:pt x="101184" y="65333"/>
                      <a:pt x="101184" y="65333"/>
                    </a:cubicBezTo>
                    <a:cubicBezTo>
                      <a:pt x="101184" y="65333"/>
                      <a:pt x="100348" y="67111"/>
                      <a:pt x="99930" y="67555"/>
                    </a:cubicBezTo>
                    <a:cubicBezTo>
                      <a:pt x="99930" y="67555"/>
                      <a:pt x="98257" y="68888"/>
                      <a:pt x="98257" y="69333"/>
                    </a:cubicBezTo>
                    <a:cubicBezTo>
                      <a:pt x="98257" y="69333"/>
                      <a:pt x="97421" y="71111"/>
                      <a:pt x="97421" y="71111"/>
                    </a:cubicBezTo>
                    <a:cubicBezTo>
                      <a:pt x="97421" y="74666"/>
                      <a:pt x="97421" y="74666"/>
                      <a:pt x="97421" y="74666"/>
                    </a:cubicBezTo>
                    <a:cubicBezTo>
                      <a:pt x="98257" y="75555"/>
                      <a:pt x="98257" y="75555"/>
                      <a:pt x="98257" y="75555"/>
                    </a:cubicBezTo>
                    <a:cubicBezTo>
                      <a:pt x="100348" y="76444"/>
                      <a:pt x="100348" y="76444"/>
                      <a:pt x="100348" y="76444"/>
                    </a:cubicBezTo>
                    <a:cubicBezTo>
                      <a:pt x="101184" y="75555"/>
                      <a:pt x="101184" y="75555"/>
                      <a:pt x="101184" y="75555"/>
                    </a:cubicBezTo>
                    <a:cubicBezTo>
                      <a:pt x="101184" y="75555"/>
                      <a:pt x="102020" y="75111"/>
                      <a:pt x="102020" y="74666"/>
                    </a:cubicBezTo>
                    <a:cubicBezTo>
                      <a:pt x="102439" y="74666"/>
                      <a:pt x="102857" y="73777"/>
                      <a:pt x="102857" y="73777"/>
                    </a:cubicBezTo>
                    <a:cubicBezTo>
                      <a:pt x="102857" y="73777"/>
                      <a:pt x="104111" y="72888"/>
                      <a:pt x="104111" y="72888"/>
                    </a:cubicBezTo>
                    <a:cubicBezTo>
                      <a:pt x="104111" y="72888"/>
                      <a:pt x="104111" y="71555"/>
                      <a:pt x="104111" y="71555"/>
                    </a:cubicBezTo>
                    <a:cubicBezTo>
                      <a:pt x="104111" y="71555"/>
                      <a:pt x="104529" y="69777"/>
                      <a:pt x="104529" y="69777"/>
                    </a:cubicBezTo>
                    <a:cubicBezTo>
                      <a:pt x="104529" y="69777"/>
                      <a:pt x="105365" y="69333"/>
                      <a:pt x="105365" y="69333"/>
                    </a:cubicBezTo>
                    <a:cubicBezTo>
                      <a:pt x="105365" y="68888"/>
                      <a:pt x="106620" y="68000"/>
                      <a:pt x="106620" y="68000"/>
                    </a:cubicBezTo>
                    <a:cubicBezTo>
                      <a:pt x="106620" y="68000"/>
                      <a:pt x="108292" y="66666"/>
                      <a:pt x="108292" y="66666"/>
                    </a:cubicBezTo>
                    <a:cubicBezTo>
                      <a:pt x="108710" y="66666"/>
                      <a:pt x="109547" y="65333"/>
                      <a:pt x="109547" y="65333"/>
                    </a:cubicBezTo>
                    <a:cubicBezTo>
                      <a:pt x="110801" y="65333"/>
                      <a:pt x="110801" y="65333"/>
                      <a:pt x="110801" y="65333"/>
                    </a:cubicBezTo>
                    <a:cubicBezTo>
                      <a:pt x="112473" y="65777"/>
                      <a:pt x="112473" y="65777"/>
                      <a:pt x="112473" y="65777"/>
                    </a:cubicBezTo>
                    <a:cubicBezTo>
                      <a:pt x="114982" y="68444"/>
                      <a:pt x="114982" y="68444"/>
                      <a:pt x="114982" y="68444"/>
                    </a:cubicBezTo>
                    <a:cubicBezTo>
                      <a:pt x="116655" y="72000"/>
                      <a:pt x="116655" y="72000"/>
                      <a:pt x="116655" y="72000"/>
                    </a:cubicBezTo>
                    <a:cubicBezTo>
                      <a:pt x="118327" y="81777"/>
                      <a:pt x="118327" y="81777"/>
                      <a:pt x="118327" y="81777"/>
                    </a:cubicBezTo>
                    <a:cubicBezTo>
                      <a:pt x="119581" y="84000"/>
                      <a:pt x="119581" y="84000"/>
                      <a:pt x="119581" y="84000"/>
                    </a:cubicBezTo>
                    <a:cubicBezTo>
                      <a:pt x="119581" y="85777"/>
                      <a:pt x="119581" y="85777"/>
                      <a:pt x="119581" y="85777"/>
                    </a:cubicBezTo>
                    <a:cubicBezTo>
                      <a:pt x="119581" y="85777"/>
                      <a:pt x="120000" y="87111"/>
                      <a:pt x="120000" y="87555"/>
                    </a:cubicBezTo>
                    <a:cubicBezTo>
                      <a:pt x="120000" y="88000"/>
                      <a:pt x="120000" y="94666"/>
                      <a:pt x="120000" y="94666"/>
                    </a:cubicBezTo>
                    <a:cubicBezTo>
                      <a:pt x="117073" y="94666"/>
                      <a:pt x="117073" y="94666"/>
                      <a:pt x="117073" y="94666"/>
                    </a:cubicBezTo>
                    <a:cubicBezTo>
                      <a:pt x="116236" y="94666"/>
                      <a:pt x="116236" y="94666"/>
                      <a:pt x="116236" y="94666"/>
                    </a:cubicBezTo>
                    <a:cubicBezTo>
                      <a:pt x="116236" y="96000"/>
                      <a:pt x="116236" y="96000"/>
                      <a:pt x="116236" y="96000"/>
                    </a:cubicBezTo>
                    <a:cubicBezTo>
                      <a:pt x="114982" y="97777"/>
                      <a:pt x="114982" y="97777"/>
                      <a:pt x="114982" y="97777"/>
                    </a:cubicBezTo>
                    <a:cubicBezTo>
                      <a:pt x="114564" y="100000"/>
                      <a:pt x="114564" y="100000"/>
                      <a:pt x="114564" y="100000"/>
                    </a:cubicBezTo>
                    <a:cubicBezTo>
                      <a:pt x="113728" y="101777"/>
                      <a:pt x="113728" y="101777"/>
                      <a:pt x="113728" y="101777"/>
                    </a:cubicBezTo>
                    <a:cubicBezTo>
                      <a:pt x="112473" y="103555"/>
                      <a:pt x="112473" y="103555"/>
                      <a:pt x="112473" y="103555"/>
                    </a:cubicBezTo>
                    <a:cubicBezTo>
                      <a:pt x="111219" y="108000"/>
                      <a:pt x="111219" y="108000"/>
                      <a:pt x="111219" y="108000"/>
                    </a:cubicBezTo>
                    <a:cubicBezTo>
                      <a:pt x="111219" y="110666"/>
                      <a:pt x="111219" y="110666"/>
                      <a:pt x="111219" y="110666"/>
                    </a:cubicBezTo>
                    <a:cubicBezTo>
                      <a:pt x="109547" y="112888"/>
                      <a:pt x="109547" y="112888"/>
                      <a:pt x="109547" y="112888"/>
                    </a:cubicBezTo>
                    <a:cubicBezTo>
                      <a:pt x="108292" y="115111"/>
                      <a:pt x="108292" y="115111"/>
                      <a:pt x="108292" y="115111"/>
                    </a:cubicBezTo>
                    <a:cubicBezTo>
                      <a:pt x="89059" y="118666"/>
                      <a:pt x="89059" y="118666"/>
                      <a:pt x="89059" y="118666"/>
                    </a:cubicBezTo>
                    <a:cubicBezTo>
                      <a:pt x="88641" y="117777"/>
                      <a:pt x="88641" y="117777"/>
                      <a:pt x="88641" y="117777"/>
                    </a:cubicBezTo>
                    <a:cubicBezTo>
                      <a:pt x="58954" y="120000"/>
                      <a:pt x="58954" y="120000"/>
                      <a:pt x="58954" y="120000"/>
                    </a:cubicBezTo>
                    <a:cubicBezTo>
                      <a:pt x="61045" y="117777"/>
                      <a:pt x="61045" y="117777"/>
                      <a:pt x="61045" y="117777"/>
                    </a:cubicBezTo>
                    <a:cubicBezTo>
                      <a:pt x="61881" y="116000"/>
                      <a:pt x="61881" y="116000"/>
                      <a:pt x="61881" y="116000"/>
                    </a:cubicBezTo>
                    <a:cubicBezTo>
                      <a:pt x="63554" y="112888"/>
                      <a:pt x="63554" y="112888"/>
                      <a:pt x="63554" y="112888"/>
                    </a:cubicBezTo>
                    <a:cubicBezTo>
                      <a:pt x="65226" y="108888"/>
                      <a:pt x="65226" y="108888"/>
                      <a:pt x="65226" y="108888"/>
                    </a:cubicBezTo>
                    <a:cubicBezTo>
                      <a:pt x="66062" y="104444"/>
                      <a:pt x="66062" y="104444"/>
                      <a:pt x="66062" y="104444"/>
                    </a:cubicBezTo>
                    <a:cubicBezTo>
                      <a:pt x="65644" y="96444"/>
                      <a:pt x="65644" y="96444"/>
                      <a:pt x="65644" y="96444"/>
                    </a:cubicBezTo>
                    <a:cubicBezTo>
                      <a:pt x="65644" y="92888"/>
                      <a:pt x="65644" y="92888"/>
                      <a:pt x="65644" y="92888"/>
                    </a:cubicBezTo>
                    <a:cubicBezTo>
                      <a:pt x="63972" y="90222"/>
                      <a:pt x="63972" y="90222"/>
                      <a:pt x="63972" y="90222"/>
                    </a:cubicBezTo>
                    <a:cubicBezTo>
                      <a:pt x="62299" y="86666"/>
                      <a:pt x="62299" y="86666"/>
                      <a:pt x="62299" y="86666"/>
                    </a:cubicBezTo>
                    <a:cubicBezTo>
                      <a:pt x="60627" y="84888"/>
                      <a:pt x="60627" y="84888"/>
                      <a:pt x="60627" y="84888"/>
                    </a:cubicBezTo>
                    <a:cubicBezTo>
                      <a:pt x="59372" y="81777"/>
                      <a:pt x="59372" y="81777"/>
                      <a:pt x="59372" y="81777"/>
                    </a:cubicBezTo>
                    <a:cubicBezTo>
                      <a:pt x="60209" y="79555"/>
                      <a:pt x="60209" y="79555"/>
                      <a:pt x="60209" y="79555"/>
                    </a:cubicBezTo>
                    <a:cubicBezTo>
                      <a:pt x="61045" y="78666"/>
                      <a:pt x="61045" y="78666"/>
                      <a:pt x="61045" y="78666"/>
                    </a:cubicBezTo>
                    <a:cubicBezTo>
                      <a:pt x="61045" y="76888"/>
                      <a:pt x="61045" y="76888"/>
                      <a:pt x="61045" y="76888"/>
                    </a:cubicBezTo>
                    <a:cubicBezTo>
                      <a:pt x="60209" y="73333"/>
                      <a:pt x="60209" y="73333"/>
                      <a:pt x="60209" y="73333"/>
                    </a:cubicBezTo>
                    <a:cubicBezTo>
                      <a:pt x="58954" y="72000"/>
                      <a:pt x="58954" y="72000"/>
                      <a:pt x="58954" y="72000"/>
                    </a:cubicBezTo>
                    <a:cubicBezTo>
                      <a:pt x="60209" y="71111"/>
                      <a:pt x="60209" y="71111"/>
                      <a:pt x="60209" y="71111"/>
                    </a:cubicBezTo>
                    <a:cubicBezTo>
                      <a:pt x="60627" y="68888"/>
                      <a:pt x="60627" y="68888"/>
                      <a:pt x="60627" y="68888"/>
                    </a:cubicBezTo>
                    <a:cubicBezTo>
                      <a:pt x="61045" y="66666"/>
                      <a:pt x="61045" y="66666"/>
                      <a:pt x="61045" y="66666"/>
                    </a:cubicBezTo>
                    <a:cubicBezTo>
                      <a:pt x="61881" y="65333"/>
                      <a:pt x="61881" y="65333"/>
                      <a:pt x="61881" y="65333"/>
                    </a:cubicBezTo>
                    <a:cubicBezTo>
                      <a:pt x="61881" y="61777"/>
                      <a:pt x="61881" y="61777"/>
                      <a:pt x="61881" y="61777"/>
                    </a:cubicBezTo>
                    <a:cubicBezTo>
                      <a:pt x="61463" y="60000"/>
                      <a:pt x="61463" y="60000"/>
                      <a:pt x="61463" y="60000"/>
                    </a:cubicBezTo>
                    <a:cubicBezTo>
                      <a:pt x="61881" y="57777"/>
                      <a:pt x="61881" y="57777"/>
                      <a:pt x="61881" y="57777"/>
                    </a:cubicBezTo>
                    <a:cubicBezTo>
                      <a:pt x="63135" y="56000"/>
                      <a:pt x="63135" y="56000"/>
                      <a:pt x="63135" y="56000"/>
                    </a:cubicBezTo>
                    <a:cubicBezTo>
                      <a:pt x="63972" y="54222"/>
                      <a:pt x="63972" y="54222"/>
                      <a:pt x="63972" y="54222"/>
                    </a:cubicBezTo>
                    <a:cubicBezTo>
                      <a:pt x="63972" y="52000"/>
                      <a:pt x="63972" y="52000"/>
                      <a:pt x="63972" y="52000"/>
                    </a:cubicBezTo>
                    <a:cubicBezTo>
                      <a:pt x="65644" y="51555"/>
                      <a:pt x="65644" y="51555"/>
                      <a:pt x="65644" y="51555"/>
                    </a:cubicBezTo>
                    <a:cubicBezTo>
                      <a:pt x="68153" y="51555"/>
                      <a:pt x="68153" y="51555"/>
                      <a:pt x="68153" y="51555"/>
                    </a:cubicBezTo>
                    <a:cubicBezTo>
                      <a:pt x="68989" y="48000"/>
                      <a:pt x="68989" y="48000"/>
                      <a:pt x="68989" y="48000"/>
                    </a:cubicBezTo>
                    <a:cubicBezTo>
                      <a:pt x="69407" y="47111"/>
                      <a:pt x="69407" y="47111"/>
                      <a:pt x="69407" y="47111"/>
                    </a:cubicBezTo>
                    <a:cubicBezTo>
                      <a:pt x="70243" y="46666"/>
                      <a:pt x="70243" y="46666"/>
                      <a:pt x="70243" y="46666"/>
                    </a:cubicBezTo>
                    <a:cubicBezTo>
                      <a:pt x="71498" y="50666"/>
                      <a:pt x="71498" y="50666"/>
                      <a:pt x="71498" y="50666"/>
                    </a:cubicBezTo>
                    <a:cubicBezTo>
                      <a:pt x="69825" y="52888"/>
                      <a:pt x="69825" y="52888"/>
                      <a:pt x="69825" y="52888"/>
                    </a:cubicBezTo>
                    <a:cubicBezTo>
                      <a:pt x="69825" y="53777"/>
                      <a:pt x="69825" y="53777"/>
                      <a:pt x="69825" y="53777"/>
                    </a:cubicBezTo>
                    <a:cubicBezTo>
                      <a:pt x="69825" y="53777"/>
                      <a:pt x="70243" y="54222"/>
                      <a:pt x="70662" y="54222"/>
                    </a:cubicBezTo>
                    <a:cubicBezTo>
                      <a:pt x="71080" y="54222"/>
                      <a:pt x="71080" y="54222"/>
                      <a:pt x="71080" y="54222"/>
                    </a:cubicBezTo>
                    <a:cubicBezTo>
                      <a:pt x="71080" y="54222"/>
                      <a:pt x="71916" y="53777"/>
                      <a:pt x="71916" y="53777"/>
                    </a:cubicBezTo>
                    <a:cubicBezTo>
                      <a:pt x="71916" y="53333"/>
                      <a:pt x="72334" y="52000"/>
                      <a:pt x="72334" y="52000"/>
                    </a:cubicBezTo>
                    <a:cubicBezTo>
                      <a:pt x="72752" y="51555"/>
                      <a:pt x="72752" y="51555"/>
                      <a:pt x="72752" y="51555"/>
                    </a:cubicBezTo>
                    <a:cubicBezTo>
                      <a:pt x="73170" y="49333"/>
                      <a:pt x="73170" y="49333"/>
                      <a:pt x="73170" y="49333"/>
                    </a:cubicBezTo>
                    <a:cubicBezTo>
                      <a:pt x="73170" y="48000"/>
                      <a:pt x="73170" y="48000"/>
                      <a:pt x="73170" y="48000"/>
                    </a:cubicBezTo>
                    <a:cubicBezTo>
                      <a:pt x="73170" y="46222"/>
                      <a:pt x="73170" y="46222"/>
                      <a:pt x="73170" y="46222"/>
                    </a:cubicBezTo>
                    <a:cubicBezTo>
                      <a:pt x="73170" y="44444"/>
                      <a:pt x="73170" y="44444"/>
                      <a:pt x="73170" y="44444"/>
                    </a:cubicBezTo>
                    <a:cubicBezTo>
                      <a:pt x="74425" y="42666"/>
                      <a:pt x="74425" y="42666"/>
                      <a:pt x="74425" y="42666"/>
                    </a:cubicBezTo>
                    <a:cubicBezTo>
                      <a:pt x="75261" y="41777"/>
                      <a:pt x="75261" y="41777"/>
                      <a:pt x="75261" y="41777"/>
                    </a:cubicBezTo>
                    <a:cubicBezTo>
                      <a:pt x="77351" y="41333"/>
                      <a:pt x="77351" y="41333"/>
                      <a:pt x="77351" y="41333"/>
                    </a:cubicBezTo>
                    <a:cubicBezTo>
                      <a:pt x="78188" y="40444"/>
                      <a:pt x="78188" y="40444"/>
                      <a:pt x="78188" y="40444"/>
                    </a:cubicBezTo>
                    <a:cubicBezTo>
                      <a:pt x="76515" y="38666"/>
                      <a:pt x="76515" y="38666"/>
                      <a:pt x="76515" y="38666"/>
                    </a:cubicBezTo>
                    <a:cubicBezTo>
                      <a:pt x="76097" y="37333"/>
                      <a:pt x="76097" y="37333"/>
                      <a:pt x="76097" y="37333"/>
                    </a:cubicBezTo>
                    <a:cubicBezTo>
                      <a:pt x="76933" y="36000"/>
                      <a:pt x="76933" y="36000"/>
                      <a:pt x="76933" y="36000"/>
                    </a:cubicBezTo>
                    <a:cubicBezTo>
                      <a:pt x="77770" y="34666"/>
                      <a:pt x="77770" y="34666"/>
                      <a:pt x="77770" y="34666"/>
                    </a:cubicBezTo>
                    <a:cubicBezTo>
                      <a:pt x="78188" y="34222"/>
                      <a:pt x="78188" y="34222"/>
                      <a:pt x="78188" y="34222"/>
                    </a:cubicBezTo>
                    <a:cubicBezTo>
                      <a:pt x="78188" y="33333"/>
                      <a:pt x="78188" y="33333"/>
                      <a:pt x="78188" y="33333"/>
                    </a:cubicBezTo>
                    <a:cubicBezTo>
                      <a:pt x="78606" y="32888"/>
                      <a:pt x="78606" y="32888"/>
                      <a:pt x="78606" y="32888"/>
                    </a:cubicBezTo>
                    <a:cubicBezTo>
                      <a:pt x="78606" y="32888"/>
                      <a:pt x="78606" y="32888"/>
                      <a:pt x="79024" y="32888"/>
                    </a:cubicBezTo>
                    <a:cubicBezTo>
                      <a:pt x="79024" y="32888"/>
                      <a:pt x="80696" y="32444"/>
                      <a:pt x="80696" y="32444"/>
                    </a:cubicBezTo>
                    <a:cubicBezTo>
                      <a:pt x="81533" y="32444"/>
                      <a:pt x="81533" y="32444"/>
                      <a:pt x="81533" y="32444"/>
                    </a:cubicBezTo>
                    <a:cubicBezTo>
                      <a:pt x="80696" y="31111"/>
                      <a:pt x="80696" y="31111"/>
                      <a:pt x="80696" y="31111"/>
                    </a:cubicBezTo>
                    <a:cubicBezTo>
                      <a:pt x="79024" y="29777"/>
                      <a:pt x="79024" y="29777"/>
                      <a:pt x="79024" y="29777"/>
                    </a:cubicBezTo>
                    <a:cubicBezTo>
                      <a:pt x="78188" y="28888"/>
                      <a:pt x="78188" y="28888"/>
                      <a:pt x="78188" y="28888"/>
                    </a:cubicBezTo>
                    <a:cubicBezTo>
                      <a:pt x="76933" y="28000"/>
                      <a:pt x="76933" y="28000"/>
                      <a:pt x="76933" y="28000"/>
                    </a:cubicBezTo>
                    <a:cubicBezTo>
                      <a:pt x="74843" y="27111"/>
                      <a:pt x="74843" y="27111"/>
                      <a:pt x="74843" y="27111"/>
                    </a:cubicBezTo>
                    <a:cubicBezTo>
                      <a:pt x="71080" y="26666"/>
                      <a:pt x="71080" y="26666"/>
                      <a:pt x="71080" y="26666"/>
                    </a:cubicBezTo>
                    <a:cubicBezTo>
                      <a:pt x="68153" y="28444"/>
                      <a:pt x="68153" y="28444"/>
                      <a:pt x="68153" y="28444"/>
                    </a:cubicBezTo>
                    <a:cubicBezTo>
                      <a:pt x="66480" y="30222"/>
                      <a:pt x="66480" y="30222"/>
                      <a:pt x="66480" y="30222"/>
                    </a:cubicBezTo>
                    <a:cubicBezTo>
                      <a:pt x="63554" y="30666"/>
                      <a:pt x="63554" y="30666"/>
                      <a:pt x="63554" y="30666"/>
                    </a:cubicBezTo>
                    <a:cubicBezTo>
                      <a:pt x="60209" y="30666"/>
                      <a:pt x="60209" y="30666"/>
                      <a:pt x="60209" y="30666"/>
                    </a:cubicBezTo>
                    <a:cubicBezTo>
                      <a:pt x="58536" y="32000"/>
                      <a:pt x="58536" y="32000"/>
                      <a:pt x="58536" y="32000"/>
                    </a:cubicBezTo>
                    <a:cubicBezTo>
                      <a:pt x="56445" y="36000"/>
                      <a:pt x="56445" y="36000"/>
                      <a:pt x="56445" y="36000"/>
                    </a:cubicBezTo>
                    <a:cubicBezTo>
                      <a:pt x="53937" y="37777"/>
                      <a:pt x="53937" y="37777"/>
                      <a:pt x="53937" y="37777"/>
                    </a:cubicBezTo>
                    <a:cubicBezTo>
                      <a:pt x="53519" y="37333"/>
                      <a:pt x="53519" y="37333"/>
                      <a:pt x="53519" y="37333"/>
                    </a:cubicBezTo>
                    <a:cubicBezTo>
                      <a:pt x="54355" y="35555"/>
                      <a:pt x="54355" y="35555"/>
                      <a:pt x="54355" y="35555"/>
                    </a:cubicBezTo>
                    <a:cubicBezTo>
                      <a:pt x="55609" y="34222"/>
                      <a:pt x="55609" y="34222"/>
                      <a:pt x="55609" y="34222"/>
                    </a:cubicBezTo>
                    <a:cubicBezTo>
                      <a:pt x="54773" y="32888"/>
                      <a:pt x="54773" y="32888"/>
                      <a:pt x="54773" y="32888"/>
                    </a:cubicBezTo>
                    <a:cubicBezTo>
                      <a:pt x="53101" y="33777"/>
                      <a:pt x="53101" y="33777"/>
                      <a:pt x="53101" y="33777"/>
                    </a:cubicBezTo>
                    <a:cubicBezTo>
                      <a:pt x="52264" y="34222"/>
                      <a:pt x="52264" y="34222"/>
                      <a:pt x="52264" y="34222"/>
                    </a:cubicBezTo>
                    <a:cubicBezTo>
                      <a:pt x="51428" y="36000"/>
                      <a:pt x="51428" y="36000"/>
                      <a:pt x="51428" y="36000"/>
                    </a:cubicBezTo>
                    <a:cubicBezTo>
                      <a:pt x="50592" y="36444"/>
                      <a:pt x="50592" y="36444"/>
                      <a:pt x="50592" y="36444"/>
                    </a:cubicBezTo>
                    <a:cubicBezTo>
                      <a:pt x="50174" y="36444"/>
                      <a:pt x="50174" y="36444"/>
                      <a:pt x="50174" y="36444"/>
                    </a:cubicBezTo>
                    <a:cubicBezTo>
                      <a:pt x="49337" y="33333"/>
                      <a:pt x="49337" y="33333"/>
                      <a:pt x="49337" y="33333"/>
                    </a:cubicBezTo>
                    <a:cubicBezTo>
                      <a:pt x="48919" y="33333"/>
                      <a:pt x="48919" y="33333"/>
                      <a:pt x="48919" y="33333"/>
                    </a:cubicBezTo>
                    <a:cubicBezTo>
                      <a:pt x="48083" y="36000"/>
                      <a:pt x="48083" y="36000"/>
                      <a:pt x="48083" y="36000"/>
                    </a:cubicBezTo>
                    <a:cubicBezTo>
                      <a:pt x="47665" y="37777"/>
                      <a:pt x="47665" y="37777"/>
                      <a:pt x="47665" y="37777"/>
                    </a:cubicBezTo>
                    <a:cubicBezTo>
                      <a:pt x="45993" y="40000"/>
                      <a:pt x="45993" y="40000"/>
                      <a:pt x="45993" y="40000"/>
                    </a:cubicBezTo>
                    <a:cubicBezTo>
                      <a:pt x="44738" y="44888"/>
                      <a:pt x="44738" y="44888"/>
                      <a:pt x="44738" y="44888"/>
                    </a:cubicBezTo>
                    <a:cubicBezTo>
                      <a:pt x="43902" y="47555"/>
                      <a:pt x="43902" y="47555"/>
                      <a:pt x="43902" y="47555"/>
                    </a:cubicBezTo>
                    <a:cubicBezTo>
                      <a:pt x="41393" y="49777"/>
                      <a:pt x="41393" y="49777"/>
                      <a:pt x="41393" y="49777"/>
                    </a:cubicBezTo>
                    <a:cubicBezTo>
                      <a:pt x="40557" y="48000"/>
                      <a:pt x="40557" y="48000"/>
                      <a:pt x="40557" y="48000"/>
                    </a:cubicBezTo>
                    <a:cubicBezTo>
                      <a:pt x="40139" y="44888"/>
                      <a:pt x="40139" y="44888"/>
                      <a:pt x="40139" y="44888"/>
                    </a:cubicBezTo>
                    <a:cubicBezTo>
                      <a:pt x="39721" y="44444"/>
                      <a:pt x="39721" y="44444"/>
                      <a:pt x="39721" y="44444"/>
                    </a:cubicBezTo>
                    <a:cubicBezTo>
                      <a:pt x="38885" y="43111"/>
                      <a:pt x="38885" y="43111"/>
                      <a:pt x="38885" y="43111"/>
                    </a:cubicBezTo>
                    <a:cubicBezTo>
                      <a:pt x="39303" y="41777"/>
                      <a:pt x="39303" y="41777"/>
                      <a:pt x="39303" y="41777"/>
                    </a:cubicBezTo>
                    <a:cubicBezTo>
                      <a:pt x="38885" y="39111"/>
                      <a:pt x="38885" y="39111"/>
                      <a:pt x="38885" y="39111"/>
                    </a:cubicBezTo>
                    <a:cubicBezTo>
                      <a:pt x="37630" y="37777"/>
                      <a:pt x="37630" y="37777"/>
                      <a:pt x="37630" y="37777"/>
                    </a:cubicBezTo>
                    <a:cubicBezTo>
                      <a:pt x="35121" y="36000"/>
                      <a:pt x="35121" y="36000"/>
                      <a:pt x="35121" y="36000"/>
                    </a:cubicBezTo>
                    <a:cubicBezTo>
                      <a:pt x="34285" y="34222"/>
                      <a:pt x="34285" y="34222"/>
                      <a:pt x="34285" y="34222"/>
                    </a:cubicBezTo>
                    <a:cubicBezTo>
                      <a:pt x="31358" y="33777"/>
                      <a:pt x="31358" y="33777"/>
                      <a:pt x="31358" y="33777"/>
                    </a:cubicBezTo>
                    <a:cubicBezTo>
                      <a:pt x="27595" y="33777"/>
                      <a:pt x="27595" y="33777"/>
                      <a:pt x="27595" y="33777"/>
                    </a:cubicBezTo>
                    <a:cubicBezTo>
                      <a:pt x="26759" y="32888"/>
                      <a:pt x="26759" y="32888"/>
                      <a:pt x="26759" y="32888"/>
                    </a:cubicBezTo>
                    <a:cubicBezTo>
                      <a:pt x="24250" y="32888"/>
                      <a:pt x="24250" y="32888"/>
                      <a:pt x="24250" y="32888"/>
                    </a:cubicBezTo>
                    <a:cubicBezTo>
                      <a:pt x="20905" y="32444"/>
                      <a:pt x="20905" y="32444"/>
                      <a:pt x="20905" y="32444"/>
                    </a:cubicBezTo>
                    <a:cubicBezTo>
                      <a:pt x="20487" y="31555"/>
                      <a:pt x="20487" y="31555"/>
                      <a:pt x="20487" y="31555"/>
                    </a:cubicBezTo>
                    <a:cubicBezTo>
                      <a:pt x="17979" y="30222"/>
                      <a:pt x="17979" y="30222"/>
                      <a:pt x="17979" y="30222"/>
                    </a:cubicBezTo>
                    <a:cubicBezTo>
                      <a:pt x="15052" y="29777"/>
                      <a:pt x="15052" y="29777"/>
                      <a:pt x="15052" y="29777"/>
                    </a:cubicBezTo>
                    <a:cubicBezTo>
                      <a:pt x="12125" y="28888"/>
                      <a:pt x="12125" y="28888"/>
                      <a:pt x="12125" y="28888"/>
                    </a:cubicBezTo>
                    <a:cubicBezTo>
                      <a:pt x="8780" y="27555"/>
                      <a:pt x="8780" y="27555"/>
                      <a:pt x="8780" y="27555"/>
                    </a:cubicBezTo>
                    <a:cubicBezTo>
                      <a:pt x="6689" y="26222"/>
                      <a:pt x="6689" y="26222"/>
                      <a:pt x="6689" y="26222"/>
                    </a:cubicBezTo>
                    <a:cubicBezTo>
                      <a:pt x="5017" y="26222"/>
                      <a:pt x="5017" y="26222"/>
                      <a:pt x="5017" y="26222"/>
                    </a:cubicBezTo>
                    <a:cubicBezTo>
                      <a:pt x="4599" y="26222"/>
                      <a:pt x="4599" y="26222"/>
                      <a:pt x="4599" y="26222"/>
                    </a:cubicBezTo>
                    <a:cubicBezTo>
                      <a:pt x="3763" y="25333"/>
                      <a:pt x="3763" y="25333"/>
                      <a:pt x="3763" y="25333"/>
                    </a:cubicBezTo>
                    <a:cubicBezTo>
                      <a:pt x="2926" y="24000"/>
                      <a:pt x="2926" y="24000"/>
                      <a:pt x="2926" y="24000"/>
                    </a:cubicBezTo>
                    <a:cubicBezTo>
                      <a:pt x="0" y="23111"/>
                      <a:pt x="0" y="23111"/>
                      <a:pt x="0" y="23111"/>
                    </a:cubicBezTo>
                    <a:lnTo>
                      <a:pt x="0" y="22666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25" name="Shape 1431">
                <a:extLst>
                  <a:ext uri="{FF2B5EF4-FFF2-40B4-BE49-F238E27FC236}">
                    <a16:creationId xmlns:a16="http://schemas.microsoft.com/office/drawing/2014/main" id="{8CE71BB2-17EF-43D3-9C88-E6184156E4F1}"/>
                  </a:ext>
                </a:extLst>
              </p:cNvPr>
              <p:cNvSpPr/>
              <p:nvPr/>
            </p:nvSpPr>
            <p:spPr>
              <a:xfrm>
                <a:off x="8566054" y="2085335"/>
                <a:ext cx="694289" cy="739411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06268" y="38873"/>
                    </a:moveTo>
                    <a:cubicBezTo>
                      <a:pt x="105671" y="38309"/>
                      <a:pt x="105671" y="38309"/>
                      <a:pt x="105671" y="38309"/>
                    </a:cubicBezTo>
                    <a:cubicBezTo>
                      <a:pt x="104477" y="36619"/>
                      <a:pt x="104477" y="36619"/>
                      <a:pt x="104477" y="36619"/>
                    </a:cubicBezTo>
                    <a:cubicBezTo>
                      <a:pt x="105074" y="34929"/>
                      <a:pt x="105074" y="34929"/>
                      <a:pt x="105074" y="34929"/>
                    </a:cubicBezTo>
                    <a:cubicBezTo>
                      <a:pt x="104477" y="31549"/>
                      <a:pt x="104477" y="31549"/>
                      <a:pt x="104477" y="31549"/>
                    </a:cubicBezTo>
                    <a:cubicBezTo>
                      <a:pt x="102686" y="29859"/>
                      <a:pt x="102686" y="29859"/>
                      <a:pt x="102686" y="29859"/>
                    </a:cubicBezTo>
                    <a:cubicBezTo>
                      <a:pt x="99104" y="27605"/>
                      <a:pt x="99104" y="27605"/>
                      <a:pt x="99104" y="27605"/>
                    </a:cubicBezTo>
                    <a:cubicBezTo>
                      <a:pt x="97910" y="25352"/>
                      <a:pt x="97910" y="25352"/>
                      <a:pt x="97910" y="25352"/>
                    </a:cubicBezTo>
                    <a:cubicBezTo>
                      <a:pt x="93731" y="24788"/>
                      <a:pt x="93731" y="24788"/>
                      <a:pt x="93731" y="24788"/>
                    </a:cubicBezTo>
                    <a:cubicBezTo>
                      <a:pt x="88358" y="24788"/>
                      <a:pt x="88358" y="24788"/>
                      <a:pt x="88358" y="24788"/>
                    </a:cubicBezTo>
                    <a:cubicBezTo>
                      <a:pt x="87164" y="23661"/>
                      <a:pt x="87164" y="23661"/>
                      <a:pt x="87164" y="23661"/>
                    </a:cubicBezTo>
                    <a:cubicBezTo>
                      <a:pt x="83582" y="23661"/>
                      <a:pt x="83582" y="23661"/>
                      <a:pt x="83582" y="23661"/>
                    </a:cubicBezTo>
                    <a:cubicBezTo>
                      <a:pt x="78805" y="23098"/>
                      <a:pt x="78805" y="23098"/>
                      <a:pt x="78805" y="23098"/>
                    </a:cubicBezTo>
                    <a:cubicBezTo>
                      <a:pt x="78208" y="21971"/>
                      <a:pt x="78208" y="21971"/>
                      <a:pt x="78208" y="21971"/>
                    </a:cubicBezTo>
                    <a:cubicBezTo>
                      <a:pt x="74626" y="20281"/>
                      <a:pt x="74626" y="20281"/>
                      <a:pt x="74626" y="20281"/>
                    </a:cubicBezTo>
                    <a:cubicBezTo>
                      <a:pt x="70447" y="19718"/>
                      <a:pt x="70447" y="19718"/>
                      <a:pt x="70447" y="19718"/>
                    </a:cubicBezTo>
                    <a:cubicBezTo>
                      <a:pt x="66268" y="18591"/>
                      <a:pt x="66268" y="18591"/>
                      <a:pt x="66268" y="18591"/>
                    </a:cubicBezTo>
                    <a:cubicBezTo>
                      <a:pt x="61492" y="16901"/>
                      <a:pt x="61492" y="16901"/>
                      <a:pt x="61492" y="16901"/>
                    </a:cubicBezTo>
                    <a:cubicBezTo>
                      <a:pt x="58507" y="15211"/>
                      <a:pt x="58507" y="15211"/>
                      <a:pt x="58507" y="15211"/>
                    </a:cubicBezTo>
                    <a:cubicBezTo>
                      <a:pt x="56119" y="15211"/>
                      <a:pt x="56119" y="15211"/>
                      <a:pt x="56119" y="15211"/>
                    </a:cubicBezTo>
                    <a:cubicBezTo>
                      <a:pt x="55522" y="15211"/>
                      <a:pt x="55522" y="15211"/>
                      <a:pt x="55522" y="15211"/>
                    </a:cubicBezTo>
                    <a:cubicBezTo>
                      <a:pt x="54328" y="14084"/>
                      <a:pt x="54328" y="14084"/>
                      <a:pt x="54328" y="14084"/>
                    </a:cubicBezTo>
                    <a:cubicBezTo>
                      <a:pt x="53134" y="12394"/>
                      <a:pt x="53134" y="12394"/>
                      <a:pt x="53134" y="12394"/>
                    </a:cubicBezTo>
                    <a:cubicBezTo>
                      <a:pt x="48955" y="11267"/>
                      <a:pt x="48955" y="11267"/>
                      <a:pt x="48955" y="11267"/>
                    </a:cubicBezTo>
                    <a:cubicBezTo>
                      <a:pt x="48955" y="11267"/>
                      <a:pt x="48955" y="11267"/>
                      <a:pt x="48955" y="11267"/>
                    </a:cubicBezTo>
                    <a:cubicBezTo>
                      <a:pt x="48358" y="11267"/>
                      <a:pt x="48358" y="11267"/>
                      <a:pt x="48358" y="11267"/>
                    </a:cubicBezTo>
                    <a:cubicBezTo>
                      <a:pt x="46567" y="10140"/>
                      <a:pt x="46567" y="10140"/>
                      <a:pt x="46567" y="10140"/>
                    </a:cubicBezTo>
                    <a:cubicBezTo>
                      <a:pt x="44776" y="9014"/>
                      <a:pt x="44776" y="9014"/>
                      <a:pt x="44776" y="9014"/>
                    </a:cubicBezTo>
                    <a:cubicBezTo>
                      <a:pt x="42985" y="8450"/>
                      <a:pt x="42985" y="8450"/>
                      <a:pt x="42985" y="8450"/>
                    </a:cubicBezTo>
                    <a:cubicBezTo>
                      <a:pt x="41791" y="9577"/>
                      <a:pt x="41791" y="9577"/>
                      <a:pt x="41791" y="9577"/>
                    </a:cubicBezTo>
                    <a:cubicBezTo>
                      <a:pt x="40000" y="10140"/>
                      <a:pt x="40000" y="10140"/>
                      <a:pt x="40000" y="10140"/>
                    </a:cubicBezTo>
                    <a:cubicBezTo>
                      <a:pt x="39402" y="9577"/>
                      <a:pt x="39402" y="9577"/>
                      <a:pt x="39402" y="9577"/>
                    </a:cubicBezTo>
                    <a:cubicBezTo>
                      <a:pt x="40000" y="8450"/>
                      <a:pt x="40000" y="8450"/>
                      <a:pt x="40000" y="8450"/>
                    </a:cubicBezTo>
                    <a:cubicBezTo>
                      <a:pt x="40597" y="5070"/>
                      <a:pt x="40597" y="5070"/>
                      <a:pt x="40597" y="5070"/>
                    </a:cubicBezTo>
                    <a:cubicBezTo>
                      <a:pt x="41194" y="3943"/>
                      <a:pt x="41194" y="3943"/>
                      <a:pt x="41194" y="3943"/>
                    </a:cubicBezTo>
                    <a:cubicBezTo>
                      <a:pt x="41791" y="1126"/>
                      <a:pt x="41791" y="1126"/>
                      <a:pt x="41791" y="1126"/>
                    </a:cubicBezTo>
                    <a:cubicBezTo>
                      <a:pt x="40000" y="0"/>
                      <a:pt x="40000" y="0"/>
                      <a:pt x="40000" y="0"/>
                    </a:cubicBezTo>
                    <a:cubicBezTo>
                      <a:pt x="38805" y="563"/>
                      <a:pt x="38805" y="563"/>
                      <a:pt x="38805" y="563"/>
                    </a:cubicBezTo>
                    <a:cubicBezTo>
                      <a:pt x="36417" y="1690"/>
                      <a:pt x="36417" y="1690"/>
                      <a:pt x="36417" y="1690"/>
                    </a:cubicBezTo>
                    <a:cubicBezTo>
                      <a:pt x="34029" y="2253"/>
                      <a:pt x="34029" y="2253"/>
                      <a:pt x="34029" y="2253"/>
                    </a:cubicBezTo>
                    <a:cubicBezTo>
                      <a:pt x="31044" y="3380"/>
                      <a:pt x="31044" y="3380"/>
                      <a:pt x="31044" y="3380"/>
                    </a:cubicBezTo>
                    <a:cubicBezTo>
                      <a:pt x="28059" y="5070"/>
                      <a:pt x="28059" y="5070"/>
                      <a:pt x="28059" y="5070"/>
                    </a:cubicBezTo>
                    <a:cubicBezTo>
                      <a:pt x="23283" y="7323"/>
                      <a:pt x="23283" y="7323"/>
                      <a:pt x="23283" y="7323"/>
                    </a:cubicBezTo>
                    <a:cubicBezTo>
                      <a:pt x="22089" y="9014"/>
                      <a:pt x="22089" y="9014"/>
                      <a:pt x="22089" y="9014"/>
                    </a:cubicBezTo>
                    <a:cubicBezTo>
                      <a:pt x="19701" y="9014"/>
                      <a:pt x="19701" y="9014"/>
                      <a:pt x="19701" y="9014"/>
                    </a:cubicBezTo>
                    <a:cubicBezTo>
                      <a:pt x="16716" y="7887"/>
                      <a:pt x="16716" y="7887"/>
                      <a:pt x="16716" y="7887"/>
                    </a:cubicBezTo>
                    <a:cubicBezTo>
                      <a:pt x="14925" y="6197"/>
                      <a:pt x="14925" y="6197"/>
                      <a:pt x="14925" y="6197"/>
                    </a:cubicBezTo>
                    <a:cubicBezTo>
                      <a:pt x="12537" y="8450"/>
                      <a:pt x="12537" y="8450"/>
                      <a:pt x="12537" y="8450"/>
                    </a:cubicBezTo>
                    <a:cubicBezTo>
                      <a:pt x="11940" y="24225"/>
                      <a:pt x="11940" y="24225"/>
                      <a:pt x="11940" y="24225"/>
                    </a:cubicBezTo>
                    <a:cubicBezTo>
                      <a:pt x="4179" y="28732"/>
                      <a:pt x="4179" y="28732"/>
                      <a:pt x="4179" y="28732"/>
                    </a:cubicBezTo>
                    <a:cubicBezTo>
                      <a:pt x="2985" y="30985"/>
                      <a:pt x="2985" y="30985"/>
                      <a:pt x="2985" y="30985"/>
                    </a:cubicBezTo>
                    <a:cubicBezTo>
                      <a:pt x="0" y="37183"/>
                      <a:pt x="0" y="37183"/>
                      <a:pt x="0" y="37183"/>
                    </a:cubicBezTo>
                    <a:cubicBezTo>
                      <a:pt x="2985" y="40563"/>
                      <a:pt x="2985" y="40563"/>
                      <a:pt x="2985" y="40563"/>
                    </a:cubicBezTo>
                    <a:cubicBezTo>
                      <a:pt x="4179" y="40563"/>
                      <a:pt x="4179" y="40563"/>
                      <a:pt x="4179" y="40563"/>
                    </a:cubicBezTo>
                    <a:cubicBezTo>
                      <a:pt x="2985" y="50140"/>
                      <a:pt x="2985" y="50140"/>
                      <a:pt x="2985" y="50140"/>
                    </a:cubicBezTo>
                    <a:cubicBezTo>
                      <a:pt x="2388" y="60281"/>
                      <a:pt x="2388" y="60281"/>
                      <a:pt x="2388" y="60281"/>
                    </a:cubicBezTo>
                    <a:cubicBezTo>
                      <a:pt x="5970" y="63098"/>
                      <a:pt x="5970" y="63098"/>
                      <a:pt x="5970" y="63098"/>
                    </a:cubicBezTo>
                    <a:cubicBezTo>
                      <a:pt x="11343" y="65915"/>
                      <a:pt x="11343" y="65915"/>
                      <a:pt x="11343" y="65915"/>
                    </a:cubicBezTo>
                    <a:cubicBezTo>
                      <a:pt x="19701" y="70422"/>
                      <a:pt x="19701" y="70422"/>
                      <a:pt x="19701" y="70422"/>
                    </a:cubicBezTo>
                    <a:cubicBezTo>
                      <a:pt x="25074" y="76056"/>
                      <a:pt x="25074" y="76056"/>
                      <a:pt x="25074" y="76056"/>
                    </a:cubicBezTo>
                    <a:cubicBezTo>
                      <a:pt x="26865" y="78309"/>
                      <a:pt x="26865" y="78309"/>
                      <a:pt x="26865" y="78309"/>
                    </a:cubicBezTo>
                    <a:cubicBezTo>
                      <a:pt x="31044" y="81126"/>
                      <a:pt x="31044" y="81126"/>
                      <a:pt x="31044" y="81126"/>
                    </a:cubicBezTo>
                    <a:cubicBezTo>
                      <a:pt x="35820" y="85633"/>
                      <a:pt x="35820" y="85633"/>
                      <a:pt x="35820" y="85633"/>
                    </a:cubicBezTo>
                    <a:cubicBezTo>
                      <a:pt x="36417" y="89577"/>
                      <a:pt x="36417" y="89577"/>
                      <a:pt x="36417" y="89577"/>
                    </a:cubicBezTo>
                    <a:cubicBezTo>
                      <a:pt x="35820" y="93521"/>
                      <a:pt x="35820" y="93521"/>
                      <a:pt x="35820" y="93521"/>
                    </a:cubicBezTo>
                    <a:cubicBezTo>
                      <a:pt x="37611" y="97464"/>
                      <a:pt x="37611" y="97464"/>
                      <a:pt x="37611" y="97464"/>
                    </a:cubicBezTo>
                    <a:cubicBezTo>
                      <a:pt x="38805" y="99154"/>
                      <a:pt x="38805" y="99154"/>
                      <a:pt x="38805" y="99154"/>
                    </a:cubicBezTo>
                    <a:cubicBezTo>
                      <a:pt x="38805" y="103098"/>
                      <a:pt x="38805" y="103098"/>
                      <a:pt x="38805" y="103098"/>
                    </a:cubicBezTo>
                    <a:cubicBezTo>
                      <a:pt x="38805" y="105352"/>
                      <a:pt x="38805" y="105352"/>
                      <a:pt x="38805" y="105352"/>
                    </a:cubicBezTo>
                    <a:cubicBezTo>
                      <a:pt x="38805" y="108732"/>
                      <a:pt x="38805" y="108732"/>
                      <a:pt x="38805" y="108732"/>
                    </a:cubicBezTo>
                    <a:cubicBezTo>
                      <a:pt x="40000" y="111549"/>
                      <a:pt x="40000" y="111549"/>
                      <a:pt x="40000" y="111549"/>
                    </a:cubicBezTo>
                    <a:cubicBezTo>
                      <a:pt x="40000" y="114366"/>
                      <a:pt x="40000" y="114366"/>
                      <a:pt x="40000" y="114366"/>
                    </a:cubicBezTo>
                    <a:cubicBezTo>
                      <a:pt x="42985" y="114366"/>
                      <a:pt x="42985" y="114366"/>
                      <a:pt x="42985" y="114366"/>
                    </a:cubicBezTo>
                    <a:cubicBezTo>
                      <a:pt x="42985" y="114366"/>
                      <a:pt x="45373" y="116619"/>
                      <a:pt x="45970" y="116619"/>
                    </a:cubicBezTo>
                    <a:cubicBezTo>
                      <a:pt x="46567" y="116619"/>
                      <a:pt x="48955" y="117746"/>
                      <a:pt x="48955" y="117746"/>
                    </a:cubicBezTo>
                    <a:cubicBezTo>
                      <a:pt x="50746" y="119999"/>
                      <a:pt x="50746" y="119999"/>
                      <a:pt x="50746" y="119999"/>
                    </a:cubicBezTo>
                    <a:cubicBezTo>
                      <a:pt x="109850" y="116619"/>
                      <a:pt x="109850" y="116619"/>
                      <a:pt x="109850" y="116619"/>
                    </a:cubicBezTo>
                    <a:cubicBezTo>
                      <a:pt x="109850" y="109859"/>
                      <a:pt x="109850" y="109859"/>
                      <a:pt x="109850" y="109859"/>
                    </a:cubicBezTo>
                    <a:cubicBezTo>
                      <a:pt x="109850" y="107605"/>
                      <a:pt x="109850" y="107605"/>
                      <a:pt x="109850" y="107605"/>
                    </a:cubicBezTo>
                    <a:cubicBezTo>
                      <a:pt x="106865" y="100845"/>
                      <a:pt x="106865" y="100845"/>
                      <a:pt x="106865" y="100845"/>
                    </a:cubicBezTo>
                    <a:cubicBezTo>
                      <a:pt x="106268" y="96901"/>
                      <a:pt x="106268" y="96901"/>
                      <a:pt x="106268" y="96901"/>
                    </a:cubicBezTo>
                    <a:cubicBezTo>
                      <a:pt x="106865" y="92394"/>
                      <a:pt x="106865" y="92394"/>
                      <a:pt x="106865" y="92394"/>
                    </a:cubicBezTo>
                    <a:cubicBezTo>
                      <a:pt x="108059" y="89014"/>
                      <a:pt x="108059" y="89014"/>
                      <a:pt x="108059" y="89014"/>
                    </a:cubicBezTo>
                    <a:cubicBezTo>
                      <a:pt x="108656" y="87323"/>
                      <a:pt x="108656" y="87323"/>
                      <a:pt x="108656" y="87323"/>
                    </a:cubicBezTo>
                    <a:cubicBezTo>
                      <a:pt x="109850" y="85633"/>
                      <a:pt x="109850" y="85633"/>
                      <a:pt x="109850" y="85633"/>
                    </a:cubicBezTo>
                    <a:cubicBezTo>
                      <a:pt x="108656" y="82816"/>
                      <a:pt x="108656" y="82816"/>
                      <a:pt x="108656" y="82816"/>
                    </a:cubicBezTo>
                    <a:cubicBezTo>
                      <a:pt x="108656" y="78873"/>
                      <a:pt x="108656" y="78873"/>
                      <a:pt x="108656" y="78873"/>
                    </a:cubicBezTo>
                    <a:cubicBezTo>
                      <a:pt x="108656" y="76619"/>
                      <a:pt x="108656" y="76619"/>
                      <a:pt x="108656" y="76619"/>
                    </a:cubicBezTo>
                    <a:cubicBezTo>
                      <a:pt x="109850" y="74929"/>
                      <a:pt x="109850" y="74929"/>
                      <a:pt x="109850" y="74929"/>
                    </a:cubicBezTo>
                    <a:cubicBezTo>
                      <a:pt x="109850" y="73802"/>
                      <a:pt x="109850" y="73802"/>
                      <a:pt x="109850" y="73802"/>
                    </a:cubicBezTo>
                    <a:cubicBezTo>
                      <a:pt x="112238" y="71549"/>
                      <a:pt x="112238" y="71549"/>
                      <a:pt x="112238" y="71549"/>
                    </a:cubicBezTo>
                    <a:cubicBezTo>
                      <a:pt x="112238" y="70422"/>
                      <a:pt x="112238" y="70422"/>
                      <a:pt x="112238" y="70422"/>
                    </a:cubicBezTo>
                    <a:cubicBezTo>
                      <a:pt x="111044" y="68169"/>
                      <a:pt x="111044" y="68169"/>
                      <a:pt x="111044" y="68169"/>
                    </a:cubicBezTo>
                    <a:cubicBezTo>
                      <a:pt x="111044" y="66478"/>
                      <a:pt x="111044" y="66478"/>
                      <a:pt x="111044" y="66478"/>
                    </a:cubicBezTo>
                    <a:cubicBezTo>
                      <a:pt x="111641" y="61971"/>
                      <a:pt x="111641" y="61971"/>
                      <a:pt x="111641" y="61971"/>
                    </a:cubicBezTo>
                    <a:cubicBezTo>
                      <a:pt x="112238" y="59154"/>
                      <a:pt x="112238" y="59154"/>
                      <a:pt x="112238" y="59154"/>
                    </a:cubicBezTo>
                    <a:cubicBezTo>
                      <a:pt x="114029" y="55774"/>
                      <a:pt x="114029" y="55774"/>
                      <a:pt x="114029" y="55774"/>
                    </a:cubicBezTo>
                    <a:cubicBezTo>
                      <a:pt x="117014" y="50140"/>
                      <a:pt x="117014" y="50140"/>
                      <a:pt x="117014" y="50140"/>
                    </a:cubicBezTo>
                    <a:cubicBezTo>
                      <a:pt x="117611" y="47887"/>
                      <a:pt x="117611" y="47887"/>
                      <a:pt x="117611" y="47887"/>
                    </a:cubicBezTo>
                    <a:cubicBezTo>
                      <a:pt x="117611" y="46197"/>
                      <a:pt x="117611" y="46197"/>
                      <a:pt x="117611" y="46197"/>
                    </a:cubicBezTo>
                    <a:cubicBezTo>
                      <a:pt x="120000" y="45633"/>
                      <a:pt x="120000" y="45633"/>
                      <a:pt x="120000" y="45633"/>
                    </a:cubicBezTo>
                    <a:cubicBezTo>
                      <a:pt x="120000" y="44507"/>
                      <a:pt x="120000" y="44507"/>
                      <a:pt x="120000" y="44507"/>
                    </a:cubicBezTo>
                    <a:cubicBezTo>
                      <a:pt x="120000" y="43380"/>
                      <a:pt x="120000" y="43380"/>
                      <a:pt x="120000" y="43380"/>
                    </a:cubicBezTo>
                    <a:cubicBezTo>
                      <a:pt x="120000" y="42253"/>
                      <a:pt x="120000" y="42253"/>
                      <a:pt x="120000" y="42253"/>
                    </a:cubicBezTo>
                    <a:cubicBezTo>
                      <a:pt x="120000" y="41126"/>
                      <a:pt x="120000" y="41126"/>
                      <a:pt x="120000" y="41126"/>
                    </a:cubicBezTo>
                    <a:cubicBezTo>
                      <a:pt x="120000" y="40000"/>
                      <a:pt x="120000" y="40000"/>
                      <a:pt x="120000" y="40000"/>
                    </a:cubicBezTo>
                    <a:cubicBezTo>
                      <a:pt x="117611" y="42253"/>
                      <a:pt x="117611" y="42253"/>
                      <a:pt x="117611" y="42253"/>
                    </a:cubicBezTo>
                    <a:cubicBezTo>
                      <a:pt x="115820" y="44507"/>
                      <a:pt x="115820" y="44507"/>
                      <a:pt x="115820" y="44507"/>
                    </a:cubicBezTo>
                    <a:cubicBezTo>
                      <a:pt x="115223" y="47323"/>
                      <a:pt x="115223" y="47323"/>
                      <a:pt x="115223" y="47323"/>
                    </a:cubicBezTo>
                    <a:cubicBezTo>
                      <a:pt x="113432" y="50704"/>
                      <a:pt x="113432" y="50704"/>
                      <a:pt x="113432" y="50704"/>
                    </a:cubicBezTo>
                    <a:cubicBezTo>
                      <a:pt x="111641" y="51830"/>
                      <a:pt x="111641" y="51830"/>
                      <a:pt x="111641" y="51830"/>
                    </a:cubicBezTo>
                    <a:cubicBezTo>
                      <a:pt x="108059" y="53521"/>
                      <a:pt x="108059" y="53521"/>
                      <a:pt x="108059" y="53521"/>
                    </a:cubicBezTo>
                    <a:cubicBezTo>
                      <a:pt x="106268" y="55774"/>
                      <a:pt x="106268" y="55774"/>
                      <a:pt x="106268" y="55774"/>
                    </a:cubicBezTo>
                    <a:cubicBezTo>
                      <a:pt x="105671" y="56901"/>
                      <a:pt x="105671" y="56901"/>
                      <a:pt x="105671" y="56901"/>
                    </a:cubicBezTo>
                    <a:cubicBezTo>
                      <a:pt x="104477" y="59154"/>
                      <a:pt x="104477" y="59154"/>
                      <a:pt x="104477" y="59154"/>
                    </a:cubicBezTo>
                    <a:cubicBezTo>
                      <a:pt x="102089" y="61971"/>
                      <a:pt x="102089" y="61971"/>
                      <a:pt x="102089" y="61971"/>
                    </a:cubicBezTo>
                    <a:cubicBezTo>
                      <a:pt x="100298" y="60281"/>
                      <a:pt x="100298" y="60281"/>
                      <a:pt x="100298" y="60281"/>
                    </a:cubicBezTo>
                    <a:cubicBezTo>
                      <a:pt x="102089" y="58028"/>
                      <a:pt x="102089" y="58028"/>
                      <a:pt x="102089" y="58028"/>
                    </a:cubicBezTo>
                    <a:cubicBezTo>
                      <a:pt x="103283" y="54084"/>
                      <a:pt x="103283" y="54084"/>
                      <a:pt x="103283" y="54084"/>
                    </a:cubicBezTo>
                    <a:cubicBezTo>
                      <a:pt x="103880" y="52394"/>
                      <a:pt x="103880" y="52394"/>
                      <a:pt x="103880" y="52394"/>
                    </a:cubicBezTo>
                    <a:cubicBezTo>
                      <a:pt x="104477" y="51267"/>
                      <a:pt x="104477" y="51267"/>
                      <a:pt x="104477" y="51267"/>
                    </a:cubicBezTo>
                    <a:cubicBezTo>
                      <a:pt x="105671" y="50140"/>
                      <a:pt x="105671" y="50140"/>
                      <a:pt x="105671" y="50140"/>
                    </a:cubicBezTo>
                    <a:cubicBezTo>
                      <a:pt x="106865" y="49014"/>
                      <a:pt x="106865" y="49014"/>
                      <a:pt x="106865" y="49014"/>
                    </a:cubicBezTo>
                    <a:cubicBezTo>
                      <a:pt x="107462" y="47887"/>
                      <a:pt x="107462" y="47887"/>
                      <a:pt x="107462" y="47887"/>
                    </a:cubicBezTo>
                    <a:cubicBezTo>
                      <a:pt x="106865" y="45070"/>
                      <a:pt x="106865" y="45070"/>
                      <a:pt x="106865" y="45070"/>
                    </a:cubicBezTo>
                    <a:cubicBezTo>
                      <a:pt x="107462" y="43943"/>
                      <a:pt x="107462" y="43943"/>
                      <a:pt x="107462" y="43943"/>
                    </a:cubicBezTo>
                    <a:cubicBezTo>
                      <a:pt x="106865" y="42816"/>
                      <a:pt x="106865" y="42816"/>
                      <a:pt x="106865" y="42816"/>
                    </a:cubicBezTo>
                    <a:lnTo>
                      <a:pt x="106268" y="38873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26" name="Shape 1432">
                <a:extLst>
                  <a:ext uri="{FF2B5EF4-FFF2-40B4-BE49-F238E27FC236}">
                    <a16:creationId xmlns:a16="http://schemas.microsoft.com/office/drawing/2014/main" id="{6E84CB09-C54E-4037-AACE-4E6051F06244}"/>
                  </a:ext>
                </a:extLst>
              </p:cNvPr>
              <p:cNvSpPr/>
              <p:nvPr/>
            </p:nvSpPr>
            <p:spPr>
              <a:xfrm>
                <a:off x="9582990" y="2783891"/>
                <a:ext cx="555433" cy="637281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06764" y="3846"/>
                    </a:moveTo>
                    <a:lnTo>
                      <a:pt x="100588" y="6153"/>
                    </a:lnTo>
                    <a:lnTo>
                      <a:pt x="95294" y="10000"/>
                    </a:lnTo>
                    <a:lnTo>
                      <a:pt x="89117" y="13076"/>
                    </a:lnTo>
                    <a:lnTo>
                      <a:pt x="84705" y="16153"/>
                    </a:lnTo>
                    <a:lnTo>
                      <a:pt x="82058" y="16923"/>
                    </a:lnTo>
                    <a:lnTo>
                      <a:pt x="80294" y="18461"/>
                    </a:lnTo>
                    <a:lnTo>
                      <a:pt x="77647" y="20769"/>
                    </a:lnTo>
                    <a:lnTo>
                      <a:pt x="75000" y="20769"/>
                    </a:lnTo>
                    <a:lnTo>
                      <a:pt x="72352" y="20769"/>
                    </a:lnTo>
                    <a:lnTo>
                      <a:pt x="68823" y="22307"/>
                    </a:lnTo>
                    <a:lnTo>
                      <a:pt x="65294" y="25384"/>
                    </a:lnTo>
                    <a:lnTo>
                      <a:pt x="62647" y="25384"/>
                    </a:lnTo>
                    <a:lnTo>
                      <a:pt x="60882" y="25384"/>
                    </a:lnTo>
                    <a:lnTo>
                      <a:pt x="60000" y="25384"/>
                    </a:lnTo>
                    <a:lnTo>
                      <a:pt x="57352" y="23846"/>
                    </a:lnTo>
                    <a:lnTo>
                      <a:pt x="54705" y="21538"/>
                    </a:lnTo>
                    <a:lnTo>
                      <a:pt x="52941" y="22307"/>
                    </a:lnTo>
                    <a:lnTo>
                      <a:pt x="49411" y="21538"/>
                    </a:lnTo>
                    <a:lnTo>
                      <a:pt x="48529" y="20769"/>
                    </a:lnTo>
                    <a:lnTo>
                      <a:pt x="45000" y="18461"/>
                    </a:lnTo>
                    <a:lnTo>
                      <a:pt x="41470" y="17692"/>
                    </a:lnTo>
                    <a:lnTo>
                      <a:pt x="34411" y="16923"/>
                    </a:lnTo>
                    <a:lnTo>
                      <a:pt x="0" y="21538"/>
                    </a:lnTo>
                    <a:lnTo>
                      <a:pt x="9705" y="103076"/>
                    </a:lnTo>
                    <a:lnTo>
                      <a:pt x="14117" y="104615"/>
                    </a:lnTo>
                    <a:lnTo>
                      <a:pt x="18529" y="103076"/>
                    </a:lnTo>
                    <a:lnTo>
                      <a:pt x="19411" y="102307"/>
                    </a:lnTo>
                    <a:lnTo>
                      <a:pt x="23823" y="105384"/>
                    </a:lnTo>
                    <a:lnTo>
                      <a:pt x="27352" y="107692"/>
                    </a:lnTo>
                    <a:lnTo>
                      <a:pt x="29117" y="110769"/>
                    </a:lnTo>
                    <a:lnTo>
                      <a:pt x="30000" y="112307"/>
                    </a:lnTo>
                    <a:lnTo>
                      <a:pt x="34411" y="113076"/>
                    </a:lnTo>
                    <a:lnTo>
                      <a:pt x="37058" y="113846"/>
                    </a:lnTo>
                    <a:lnTo>
                      <a:pt x="38823" y="114615"/>
                    </a:lnTo>
                    <a:lnTo>
                      <a:pt x="40588" y="116153"/>
                    </a:lnTo>
                    <a:lnTo>
                      <a:pt x="43235" y="115384"/>
                    </a:lnTo>
                    <a:lnTo>
                      <a:pt x="43235" y="114615"/>
                    </a:lnTo>
                    <a:lnTo>
                      <a:pt x="45000" y="113076"/>
                    </a:lnTo>
                    <a:lnTo>
                      <a:pt x="45882" y="112307"/>
                    </a:lnTo>
                    <a:lnTo>
                      <a:pt x="48529" y="113846"/>
                    </a:lnTo>
                    <a:lnTo>
                      <a:pt x="52941" y="115384"/>
                    </a:lnTo>
                    <a:lnTo>
                      <a:pt x="58235" y="114615"/>
                    </a:lnTo>
                    <a:lnTo>
                      <a:pt x="59117" y="113846"/>
                    </a:lnTo>
                    <a:lnTo>
                      <a:pt x="60882" y="111538"/>
                    </a:lnTo>
                    <a:lnTo>
                      <a:pt x="62647" y="110769"/>
                    </a:lnTo>
                    <a:lnTo>
                      <a:pt x="63529" y="110000"/>
                    </a:lnTo>
                    <a:lnTo>
                      <a:pt x="66176" y="112307"/>
                    </a:lnTo>
                    <a:lnTo>
                      <a:pt x="69705" y="116153"/>
                    </a:lnTo>
                    <a:lnTo>
                      <a:pt x="73235" y="119230"/>
                    </a:lnTo>
                    <a:lnTo>
                      <a:pt x="75882" y="119230"/>
                    </a:lnTo>
                    <a:lnTo>
                      <a:pt x="75000" y="120000"/>
                    </a:lnTo>
                    <a:lnTo>
                      <a:pt x="77647" y="117692"/>
                    </a:lnTo>
                    <a:lnTo>
                      <a:pt x="81176" y="114615"/>
                    </a:lnTo>
                    <a:lnTo>
                      <a:pt x="82941" y="112307"/>
                    </a:lnTo>
                    <a:lnTo>
                      <a:pt x="82941" y="109230"/>
                    </a:lnTo>
                    <a:lnTo>
                      <a:pt x="85588" y="100769"/>
                    </a:lnTo>
                    <a:lnTo>
                      <a:pt x="88235" y="98461"/>
                    </a:lnTo>
                    <a:lnTo>
                      <a:pt x="91764" y="100769"/>
                    </a:lnTo>
                    <a:lnTo>
                      <a:pt x="92647" y="100000"/>
                    </a:lnTo>
                    <a:lnTo>
                      <a:pt x="93529" y="92307"/>
                    </a:lnTo>
                    <a:lnTo>
                      <a:pt x="96176" y="89230"/>
                    </a:lnTo>
                    <a:lnTo>
                      <a:pt x="99705" y="84615"/>
                    </a:lnTo>
                    <a:lnTo>
                      <a:pt x="104117" y="84615"/>
                    </a:lnTo>
                    <a:lnTo>
                      <a:pt x="106764" y="81538"/>
                    </a:lnTo>
                    <a:lnTo>
                      <a:pt x="113823" y="76153"/>
                    </a:lnTo>
                    <a:lnTo>
                      <a:pt x="115588" y="72307"/>
                    </a:lnTo>
                    <a:lnTo>
                      <a:pt x="115588" y="70000"/>
                    </a:lnTo>
                    <a:lnTo>
                      <a:pt x="116470" y="63846"/>
                    </a:lnTo>
                    <a:lnTo>
                      <a:pt x="116470" y="59230"/>
                    </a:lnTo>
                    <a:lnTo>
                      <a:pt x="117352" y="56923"/>
                    </a:lnTo>
                    <a:lnTo>
                      <a:pt x="117352" y="53846"/>
                    </a:lnTo>
                    <a:lnTo>
                      <a:pt x="117352" y="47692"/>
                    </a:lnTo>
                    <a:lnTo>
                      <a:pt x="117352" y="46923"/>
                    </a:lnTo>
                    <a:lnTo>
                      <a:pt x="116470" y="44615"/>
                    </a:lnTo>
                    <a:lnTo>
                      <a:pt x="117352" y="42307"/>
                    </a:lnTo>
                    <a:lnTo>
                      <a:pt x="120000" y="42307"/>
                    </a:lnTo>
                    <a:lnTo>
                      <a:pt x="111176" y="0"/>
                    </a:lnTo>
                    <a:lnTo>
                      <a:pt x="106764" y="3846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27" name="Shape 1433">
                <a:extLst>
                  <a:ext uri="{FF2B5EF4-FFF2-40B4-BE49-F238E27FC236}">
                    <a16:creationId xmlns:a16="http://schemas.microsoft.com/office/drawing/2014/main" id="{FE160280-AA63-46F5-A262-ED04525D982F}"/>
                  </a:ext>
                </a:extLst>
              </p:cNvPr>
              <p:cNvSpPr/>
              <p:nvPr/>
            </p:nvSpPr>
            <p:spPr>
              <a:xfrm>
                <a:off x="9223592" y="2894192"/>
                <a:ext cx="408407" cy="702642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6000" y="120000"/>
                    </a:moveTo>
                    <a:lnTo>
                      <a:pt x="6000" y="116511"/>
                    </a:lnTo>
                    <a:lnTo>
                      <a:pt x="15600" y="116511"/>
                    </a:lnTo>
                    <a:lnTo>
                      <a:pt x="19200" y="113720"/>
                    </a:lnTo>
                    <a:lnTo>
                      <a:pt x="22800" y="113720"/>
                    </a:lnTo>
                    <a:lnTo>
                      <a:pt x="28800" y="113720"/>
                    </a:lnTo>
                    <a:lnTo>
                      <a:pt x="32400" y="115813"/>
                    </a:lnTo>
                    <a:lnTo>
                      <a:pt x="37200" y="117209"/>
                    </a:lnTo>
                    <a:lnTo>
                      <a:pt x="38400" y="116511"/>
                    </a:lnTo>
                    <a:lnTo>
                      <a:pt x="38400" y="113720"/>
                    </a:lnTo>
                    <a:lnTo>
                      <a:pt x="43200" y="113023"/>
                    </a:lnTo>
                    <a:lnTo>
                      <a:pt x="45600" y="112325"/>
                    </a:lnTo>
                    <a:lnTo>
                      <a:pt x="50400" y="112325"/>
                    </a:lnTo>
                    <a:lnTo>
                      <a:pt x="52800" y="113720"/>
                    </a:lnTo>
                    <a:lnTo>
                      <a:pt x="57600" y="114418"/>
                    </a:lnTo>
                    <a:lnTo>
                      <a:pt x="58800" y="112325"/>
                    </a:lnTo>
                    <a:lnTo>
                      <a:pt x="58800" y="109534"/>
                    </a:lnTo>
                    <a:lnTo>
                      <a:pt x="62400" y="107441"/>
                    </a:lnTo>
                    <a:lnTo>
                      <a:pt x="63600" y="104651"/>
                    </a:lnTo>
                    <a:lnTo>
                      <a:pt x="66000" y="104651"/>
                    </a:lnTo>
                    <a:lnTo>
                      <a:pt x="67200" y="107441"/>
                    </a:lnTo>
                    <a:lnTo>
                      <a:pt x="70800" y="109534"/>
                    </a:lnTo>
                    <a:lnTo>
                      <a:pt x="72000" y="110232"/>
                    </a:lnTo>
                    <a:lnTo>
                      <a:pt x="79200" y="109534"/>
                    </a:lnTo>
                    <a:lnTo>
                      <a:pt x="81600" y="106744"/>
                    </a:lnTo>
                    <a:lnTo>
                      <a:pt x="81600" y="104651"/>
                    </a:lnTo>
                    <a:lnTo>
                      <a:pt x="85200" y="101162"/>
                    </a:lnTo>
                    <a:lnTo>
                      <a:pt x="88800" y="101162"/>
                    </a:lnTo>
                    <a:lnTo>
                      <a:pt x="91200" y="99767"/>
                    </a:lnTo>
                    <a:lnTo>
                      <a:pt x="93600" y="96976"/>
                    </a:lnTo>
                    <a:lnTo>
                      <a:pt x="96000" y="94186"/>
                    </a:lnTo>
                    <a:lnTo>
                      <a:pt x="96000" y="91395"/>
                    </a:lnTo>
                    <a:lnTo>
                      <a:pt x="97200" y="90000"/>
                    </a:lnTo>
                    <a:lnTo>
                      <a:pt x="97200" y="88604"/>
                    </a:lnTo>
                    <a:lnTo>
                      <a:pt x="98400" y="87906"/>
                    </a:lnTo>
                    <a:lnTo>
                      <a:pt x="108000" y="87209"/>
                    </a:lnTo>
                    <a:lnTo>
                      <a:pt x="112800" y="85813"/>
                    </a:lnTo>
                    <a:lnTo>
                      <a:pt x="117600" y="85813"/>
                    </a:lnTo>
                    <a:lnTo>
                      <a:pt x="120000" y="84418"/>
                    </a:lnTo>
                    <a:lnTo>
                      <a:pt x="118800" y="80232"/>
                    </a:lnTo>
                    <a:lnTo>
                      <a:pt x="120000" y="78837"/>
                    </a:lnTo>
                    <a:lnTo>
                      <a:pt x="117600" y="78139"/>
                    </a:lnTo>
                    <a:lnTo>
                      <a:pt x="116400" y="75348"/>
                    </a:lnTo>
                    <a:lnTo>
                      <a:pt x="118800" y="74651"/>
                    </a:lnTo>
                    <a:lnTo>
                      <a:pt x="105600" y="697"/>
                    </a:lnTo>
                    <a:lnTo>
                      <a:pt x="105600" y="0"/>
                    </a:lnTo>
                    <a:lnTo>
                      <a:pt x="32400" y="2790"/>
                    </a:lnTo>
                    <a:lnTo>
                      <a:pt x="32400" y="3488"/>
                    </a:lnTo>
                    <a:lnTo>
                      <a:pt x="24000" y="6279"/>
                    </a:lnTo>
                    <a:lnTo>
                      <a:pt x="19200" y="8372"/>
                    </a:lnTo>
                    <a:lnTo>
                      <a:pt x="15600" y="9069"/>
                    </a:lnTo>
                    <a:lnTo>
                      <a:pt x="9600" y="8372"/>
                    </a:lnTo>
                    <a:lnTo>
                      <a:pt x="13200" y="71860"/>
                    </a:lnTo>
                    <a:lnTo>
                      <a:pt x="12000" y="73953"/>
                    </a:lnTo>
                    <a:lnTo>
                      <a:pt x="12000" y="76046"/>
                    </a:lnTo>
                    <a:lnTo>
                      <a:pt x="12000" y="78837"/>
                    </a:lnTo>
                    <a:lnTo>
                      <a:pt x="13200" y="81627"/>
                    </a:lnTo>
                    <a:lnTo>
                      <a:pt x="18000" y="86511"/>
                    </a:lnTo>
                    <a:lnTo>
                      <a:pt x="19200" y="90697"/>
                    </a:lnTo>
                    <a:lnTo>
                      <a:pt x="19200" y="93488"/>
                    </a:lnTo>
                    <a:lnTo>
                      <a:pt x="15600" y="94883"/>
                    </a:lnTo>
                    <a:lnTo>
                      <a:pt x="13200" y="97674"/>
                    </a:lnTo>
                    <a:lnTo>
                      <a:pt x="12000" y="101162"/>
                    </a:lnTo>
                    <a:lnTo>
                      <a:pt x="9600" y="102558"/>
                    </a:lnTo>
                    <a:lnTo>
                      <a:pt x="6000" y="104651"/>
                    </a:lnTo>
                    <a:lnTo>
                      <a:pt x="4800" y="108837"/>
                    </a:lnTo>
                    <a:lnTo>
                      <a:pt x="2400" y="109534"/>
                    </a:lnTo>
                    <a:lnTo>
                      <a:pt x="0" y="112325"/>
                    </a:lnTo>
                    <a:lnTo>
                      <a:pt x="0" y="116511"/>
                    </a:lnTo>
                    <a:lnTo>
                      <a:pt x="1200" y="119302"/>
                    </a:lnTo>
                    <a:lnTo>
                      <a:pt x="2400" y="120000"/>
                    </a:lnTo>
                    <a:lnTo>
                      <a:pt x="2400" y="120000"/>
                    </a:lnTo>
                    <a:lnTo>
                      <a:pt x="6000" y="12000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28" name="Shape 1434">
                <a:extLst>
                  <a:ext uri="{FF2B5EF4-FFF2-40B4-BE49-F238E27FC236}">
                    <a16:creationId xmlns:a16="http://schemas.microsoft.com/office/drawing/2014/main" id="{8E6C3146-891D-4457-97B4-5D6364CDEE15}"/>
                  </a:ext>
                </a:extLst>
              </p:cNvPr>
              <p:cNvSpPr/>
              <p:nvPr/>
            </p:nvSpPr>
            <p:spPr>
              <a:xfrm>
                <a:off x="8762092" y="2804318"/>
                <a:ext cx="526845" cy="923240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80000" y="115752"/>
                    </a:moveTo>
                    <a:lnTo>
                      <a:pt x="81860" y="115221"/>
                    </a:lnTo>
                    <a:lnTo>
                      <a:pt x="85581" y="116283"/>
                    </a:lnTo>
                    <a:lnTo>
                      <a:pt x="89302" y="117876"/>
                    </a:lnTo>
                    <a:lnTo>
                      <a:pt x="92093" y="117876"/>
                    </a:lnTo>
                    <a:lnTo>
                      <a:pt x="94883" y="117876"/>
                    </a:lnTo>
                    <a:lnTo>
                      <a:pt x="96744" y="117345"/>
                    </a:lnTo>
                    <a:lnTo>
                      <a:pt x="94883" y="114690"/>
                    </a:lnTo>
                    <a:lnTo>
                      <a:pt x="94883" y="112035"/>
                    </a:lnTo>
                    <a:lnTo>
                      <a:pt x="97674" y="110973"/>
                    </a:lnTo>
                    <a:lnTo>
                      <a:pt x="103255" y="109911"/>
                    </a:lnTo>
                    <a:lnTo>
                      <a:pt x="105116" y="109380"/>
                    </a:lnTo>
                    <a:lnTo>
                      <a:pt x="104186" y="107787"/>
                    </a:lnTo>
                    <a:lnTo>
                      <a:pt x="104186" y="106194"/>
                    </a:lnTo>
                    <a:lnTo>
                      <a:pt x="104186" y="105663"/>
                    </a:lnTo>
                    <a:lnTo>
                      <a:pt x="104186" y="103539"/>
                    </a:lnTo>
                    <a:lnTo>
                      <a:pt x="106976" y="103008"/>
                    </a:lnTo>
                    <a:lnTo>
                      <a:pt x="106976" y="103008"/>
                    </a:lnTo>
                    <a:lnTo>
                      <a:pt x="106046" y="102477"/>
                    </a:lnTo>
                    <a:lnTo>
                      <a:pt x="105116" y="100353"/>
                    </a:lnTo>
                    <a:lnTo>
                      <a:pt x="105116" y="97168"/>
                    </a:lnTo>
                    <a:lnTo>
                      <a:pt x="106976" y="95044"/>
                    </a:lnTo>
                    <a:lnTo>
                      <a:pt x="108837" y="94513"/>
                    </a:lnTo>
                    <a:lnTo>
                      <a:pt x="109767" y="91327"/>
                    </a:lnTo>
                    <a:lnTo>
                      <a:pt x="112558" y="89734"/>
                    </a:lnTo>
                    <a:lnTo>
                      <a:pt x="114418" y="88672"/>
                    </a:lnTo>
                    <a:lnTo>
                      <a:pt x="115348" y="86017"/>
                    </a:lnTo>
                    <a:lnTo>
                      <a:pt x="117209" y="83893"/>
                    </a:lnTo>
                    <a:lnTo>
                      <a:pt x="120000" y="82831"/>
                    </a:lnTo>
                    <a:lnTo>
                      <a:pt x="120000" y="80707"/>
                    </a:lnTo>
                    <a:lnTo>
                      <a:pt x="119069" y="77522"/>
                    </a:lnTo>
                    <a:lnTo>
                      <a:pt x="115348" y="73805"/>
                    </a:lnTo>
                    <a:lnTo>
                      <a:pt x="114418" y="71681"/>
                    </a:lnTo>
                    <a:lnTo>
                      <a:pt x="114418" y="69557"/>
                    </a:lnTo>
                    <a:lnTo>
                      <a:pt x="114418" y="67964"/>
                    </a:lnTo>
                    <a:lnTo>
                      <a:pt x="115348" y="66371"/>
                    </a:lnTo>
                    <a:lnTo>
                      <a:pt x="112558" y="18053"/>
                    </a:lnTo>
                    <a:lnTo>
                      <a:pt x="113488" y="18053"/>
                    </a:lnTo>
                    <a:lnTo>
                      <a:pt x="109767" y="16460"/>
                    </a:lnTo>
                    <a:lnTo>
                      <a:pt x="107906" y="13805"/>
                    </a:lnTo>
                    <a:lnTo>
                      <a:pt x="106046" y="12212"/>
                    </a:lnTo>
                    <a:lnTo>
                      <a:pt x="105116" y="9026"/>
                    </a:lnTo>
                    <a:lnTo>
                      <a:pt x="101395" y="6902"/>
                    </a:lnTo>
                    <a:lnTo>
                      <a:pt x="99534" y="1592"/>
                    </a:lnTo>
                    <a:lnTo>
                      <a:pt x="99534" y="0"/>
                    </a:lnTo>
                    <a:lnTo>
                      <a:pt x="22325" y="2654"/>
                    </a:lnTo>
                    <a:lnTo>
                      <a:pt x="20465" y="1592"/>
                    </a:lnTo>
                    <a:lnTo>
                      <a:pt x="20465" y="1592"/>
                    </a:lnTo>
                    <a:lnTo>
                      <a:pt x="19534" y="3185"/>
                    </a:lnTo>
                    <a:lnTo>
                      <a:pt x="19534" y="4247"/>
                    </a:lnTo>
                    <a:lnTo>
                      <a:pt x="22325" y="5840"/>
                    </a:lnTo>
                    <a:lnTo>
                      <a:pt x="26046" y="7433"/>
                    </a:lnTo>
                    <a:lnTo>
                      <a:pt x="30697" y="9557"/>
                    </a:lnTo>
                    <a:lnTo>
                      <a:pt x="35348" y="12212"/>
                    </a:lnTo>
                    <a:lnTo>
                      <a:pt x="35348" y="13805"/>
                    </a:lnTo>
                    <a:lnTo>
                      <a:pt x="33488" y="16991"/>
                    </a:lnTo>
                    <a:lnTo>
                      <a:pt x="31627" y="18584"/>
                    </a:lnTo>
                    <a:lnTo>
                      <a:pt x="28837" y="22831"/>
                    </a:lnTo>
                    <a:lnTo>
                      <a:pt x="26976" y="23893"/>
                    </a:lnTo>
                    <a:lnTo>
                      <a:pt x="25116" y="24955"/>
                    </a:lnTo>
                    <a:lnTo>
                      <a:pt x="19534" y="26548"/>
                    </a:lnTo>
                    <a:lnTo>
                      <a:pt x="13953" y="26548"/>
                    </a:lnTo>
                    <a:lnTo>
                      <a:pt x="11162" y="27079"/>
                    </a:lnTo>
                    <a:lnTo>
                      <a:pt x="11162" y="29203"/>
                    </a:lnTo>
                    <a:lnTo>
                      <a:pt x="11162" y="30796"/>
                    </a:lnTo>
                    <a:lnTo>
                      <a:pt x="13953" y="34513"/>
                    </a:lnTo>
                    <a:lnTo>
                      <a:pt x="15813" y="35575"/>
                    </a:lnTo>
                    <a:lnTo>
                      <a:pt x="12093" y="37168"/>
                    </a:lnTo>
                    <a:lnTo>
                      <a:pt x="12093" y="40884"/>
                    </a:lnTo>
                    <a:lnTo>
                      <a:pt x="10232" y="40884"/>
                    </a:lnTo>
                    <a:lnTo>
                      <a:pt x="7441" y="42477"/>
                    </a:lnTo>
                    <a:lnTo>
                      <a:pt x="1860" y="45663"/>
                    </a:lnTo>
                    <a:lnTo>
                      <a:pt x="2790" y="48849"/>
                    </a:lnTo>
                    <a:lnTo>
                      <a:pt x="0" y="50442"/>
                    </a:lnTo>
                    <a:lnTo>
                      <a:pt x="0" y="55221"/>
                    </a:lnTo>
                    <a:lnTo>
                      <a:pt x="0" y="60000"/>
                    </a:lnTo>
                    <a:lnTo>
                      <a:pt x="5581" y="65309"/>
                    </a:lnTo>
                    <a:lnTo>
                      <a:pt x="19534" y="72212"/>
                    </a:lnTo>
                    <a:lnTo>
                      <a:pt x="23255" y="75398"/>
                    </a:lnTo>
                    <a:lnTo>
                      <a:pt x="23255" y="79646"/>
                    </a:lnTo>
                    <a:lnTo>
                      <a:pt x="27906" y="81769"/>
                    </a:lnTo>
                    <a:lnTo>
                      <a:pt x="28837" y="80176"/>
                    </a:lnTo>
                    <a:lnTo>
                      <a:pt x="31627" y="79646"/>
                    </a:lnTo>
                    <a:lnTo>
                      <a:pt x="36279" y="79646"/>
                    </a:lnTo>
                    <a:lnTo>
                      <a:pt x="39069" y="81238"/>
                    </a:lnTo>
                    <a:lnTo>
                      <a:pt x="41860" y="82831"/>
                    </a:lnTo>
                    <a:lnTo>
                      <a:pt x="39069" y="86017"/>
                    </a:lnTo>
                    <a:lnTo>
                      <a:pt x="38139" y="88672"/>
                    </a:lnTo>
                    <a:lnTo>
                      <a:pt x="38139" y="90265"/>
                    </a:lnTo>
                    <a:lnTo>
                      <a:pt x="36279" y="92920"/>
                    </a:lnTo>
                    <a:lnTo>
                      <a:pt x="36279" y="95575"/>
                    </a:lnTo>
                    <a:lnTo>
                      <a:pt x="40930" y="98230"/>
                    </a:lnTo>
                    <a:lnTo>
                      <a:pt x="47441" y="100884"/>
                    </a:lnTo>
                    <a:lnTo>
                      <a:pt x="49302" y="100353"/>
                    </a:lnTo>
                    <a:lnTo>
                      <a:pt x="59534" y="104070"/>
                    </a:lnTo>
                    <a:lnTo>
                      <a:pt x="63255" y="106194"/>
                    </a:lnTo>
                    <a:lnTo>
                      <a:pt x="66046" y="110973"/>
                    </a:lnTo>
                    <a:lnTo>
                      <a:pt x="65116" y="113628"/>
                    </a:lnTo>
                    <a:lnTo>
                      <a:pt x="64186" y="115221"/>
                    </a:lnTo>
                    <a:lnTo>
                      <a:pt x="68837" y="117876"/>
                    </a:lnTo>
                    <a:lnTo>
                      <a:pt x="68837" y="120000"/>
                    </a:lnTo>
                    <a:lnTo>
                      <a:pt x="70697" y="117876"/>
                    </a:lnTo>
                    <a:lnTo>
                      <a:pt x="74418" y="117876"/>
                    </a:lnTo>
                    <a:lnTo>
                      <a:pt x="77209" y="117345"/>
                    </a:lnTo>
                    <a:lnTo>
                      <a:pt x="80000" y="115752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29" name="Shape 1435">
                <a:extLst>
                  <a:ext uri="{FF2B5EF4-FFF2-40B4-BE49-F238E27FC236}">
                    <a16:creationId xmlns:a16="http://schemas.microsoft.com/office/drawing/2014/main" id="{85B44465-73AC-4444-A902-9CD62B5CAF31}"/>
                  </a:ext>
                </a:extLst>
              </p:cNvPr>
              <p:cNvSpPr/>
              <p:nvPr/>
            </p:nvSpPr>
            <p:spPr>
              <a:xfrm>
                <a:off x="8116808" y="2600060"/>
                <a:ext cx="800477" cy="588260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98181" y="113647"/>
                    </a:moveTo>
                    <a:cubicBezTo>
                      <a:pt x="101818" y="108705"/>
                      <a:pt x="101818" y="108705"/>
                      <a:pt x="101818" y="108705"/>
                    </a:cubicBezTo>
                    <a:cubicBezTo>
                      <a:pt x="103376" y="105882"/>
                      <a:pt x="103376" y="105882"/>
                      <a:pt x="103376" y="105882"/>
                    </a:cubicBezTo>
                    <a:cubicBezTo>
                      <a:pt x="104415" y="105882"/>
                      <a:pt x="104415" y="105882"/>
                      <a:pt x="104415" y="105882"/>
                    </a:cubicBezTo>
                    <a:cubicBezTo>
                      <a:pt x="104935" y="100235"/>
                      <a:pt x="104935" y="100235"/>
                      <a:pt x="104935" y="100235"/>
                    </a:cubicBezTo>
                    <a:cubicBezTo>
                      <a:pt x="107012" y="98117"/>
                      <a:pt x="107012" y="98117"/>
                      <a:pt x="107012" y="98117"/>
                    </a:cubicBezTo>
                    <a:cubicBezTo>
                      <a:pt x="105974" y="96000"/>
                      <a:pt x="105974" y="96000"/>
                      <a:pt x="105974" y="96000"/>
                    </a:cubicBezTo>
                    <a:cubicBezTo>
                      <a:pt x="103896" y="90352"/>
                      <a:pt x="103896" y="90352"/>
                      <a:pt x="103896" y="90352"/>
                    </a:cubicBezTo>
                    <a:cubicBezTo>
                      <a:pt x="103896" y="87529"/>
                      <a:pt x="103896" y="87529"/>
                      <a:pt x="103896" y="87529"/>
                    </a:cubicBezTo>
                    <a:cubicBezTo>
                      <a:pt x="103896" y="84705"/>
                      <a:pt x="103896" y="84705"/>
                      <a:pt x="103896" y="84705"/>
                    </a:cubicBezTo>
                    <a:cubicBezTo>
                      <a:pt x="105974" y="83294"/>
                      <a:pt x="105974" y="83294"/>
                      <a:pt x="105974" y="83294"/>
                    </a:cubicBezTo>
                    <a:cubicBezTo>
                      <a:pt x="109610" y="83294"/>
                      <a:pt x="109610" y="83294"/>
                      <a:pt x="109610" y="83294"/>
                    </a:cubicBezTo>
                    <a:cubicBezTo>
                      <a:pt x="113246" y="81176"/>
                      <a:pt x="113246" y="81176"/>
                      <a:pt x="113246" y="81176"/>
                    </a:cubicBezTo>
                    <a:cubicBezTo>
                      <a:pt x="114285" y="79764"/>
                      <a:pt x="114285" y="79764"/>
                      <a:pt x="114285" y="79764"/>
                    </a:cubicBezTo>
                    <a:cubicBezTo>
                      <a:pt x="115844" y="77647"/>
                      <a:pt x="115844" y="77647"/>
                      <a:pt x="115844" y="77647"/>
                    </a:cubicBezTo>
                    <a:cubicBezTo>
                      <a:pt x="117402" y="71294"/>
                      <a:pt x="117402" y="71294"/>
                      <a:pt x="117402" y="71294"/>
                    </a:cubicBezTo>
                    <a:cubicBezTo>
                      <a:pt x="118961" y="68470"/>
                      <a:pt x="118961" y="68470"/>
                      <a:pt x="118961" y="68470"/>
                    </a:cubicBezTo>
                    <a:cubicBezTo>
                      <a:pt x="119999" y="63529"/>
                      <a:pt x="119999" y="63529"/>
                      <a:pt x="119999" y="63529"/>
                    </a:cubicBezTo>
                    <a:cubicBezTo>
                      <a:pt x="119999" y="61411"/>
                      <a:pt x="119999" y="61411"/>
                      <a:pt x="119999" y="61411"/>
                    </a:cubicBezTo>
                    <a:cubicBezTo>
                      <a:pt x="116883" y="57176"/>
                      <a:pt x="116883" y="57176"/>
                      <a:pt x="116883" y="57176"/>
                    </a:cubicBezTo>
                    <a:cubicBezTo>
                      <a:pt x="113766" y="53647"/>
                      <a:pt x="113766" y="53647"/>
                      <a:pt x="113766" y="53647"/>
                    </a:cubicBezTo>
                    <a:cubicBezTo>
                      <a:pt x="111688" y="50823"/>
                      <a:pt x="111688" y="50823"/>
                      <a:pt x="111688" y="50823"/>
                    </a:cubicBezTo>
                    <a:cubicBezTo>
                      <a:pt x="109610" y="48705"/>
                      <a:pt x="109610" y="48705"/>
                      <a:pt x="109610" y="48705"/>
                    </a:cubicBezTo>
                    <a:cubicBezTo>
                      <a:pt x="109610" y="46588"/>
                      <a:pt x="109610" y="46588"/>
                      <a:pt x="109610" y="46588"/>
                    </a:cubicBezTo>
                    <a:cubicBezTo>
                      <a:pt x="110129" y="44470"/>
                      <a:pt x="110129" y="44470"/>
                      <a:pt x="110129" y="44470"/>
                    </a:cubicBezTo>
                    <a:cubicBezTo>
                      <a:pt x="111168" y="45882"/>
                      <a:pt x="111168" y="45882"/>
                      <a:pt x="111168" y="45882"/>
                    </a:cubicBezTo>
                    <a:cubicBezTo>
                      <a:pt x="109610" y="43058"/>
                      <a:pt x="109610" y="43058"/>
                      <a:pt x="109610" y="43058"/>
                    </a:cubicBezTo>
                    <a:cubicBezTo>
                      <a:pt x="109610" y="43058"/>
                      <a:pt x="107532" y="41647"/>
                      <a:pt x="107012" y="41647"/>
                    </a:cubicBezTo>
                    <a:cubicBezTo>
                      <a:pt x="106493" y="41647"/>
                      <a:pt x="104415" y="38823"/>
                      <a:pt x="104415" y="38823"/>
                    </a:cubicBezTo>
                    <a:cubicBezTo>
                      <a:pt x="101818" y="38823"/>
                      <a:pt x="101818" y="38823"/>
                      <a:pt x="101818" y="38823"/>
                    </a:cubicBezTo>
                    <a:cubicBezTo>
                      <a:pt x="101818" y="35294"/>
                      <a:pt x="101818" y="35294"/>
                      <a:pt x="101818" y="35294"/>
                    </a:cubicBezTo>
                    <a:cubicBezTo>
                      <a:pt x="100779" y="31764"/>
                      <a:pt x="100779" y="31764"/>
                      <a:pt x="100779" y="31764"/>
                    </a:cubicBezTo>
                    <a:cubicBezTo>
                      <a:pt x="100779" y="27529"/>
                      <a:pt x="100779" y="27529"/>
                      <a:pt x="100779" y="27529"/>
                    </a:cubicBezTo>
                    <a:cubicBezTo>
                      <a:pt x="100779" y="24705"/>
                      <a:pt x="100779" y="24705"/>
                      <a:pt x="100779" y="24705"/>
                    </a:cubicBezTo>
                    <a:cubicBezTo>
                      <a:pt x="100779" y="19764"/>
                      <a:pt x="100779" y="19764"/>
                      <a:pt x="100779" y="19764"/>
                    </a:cubicBezTo>
                    <a:cubicBezTo>
                      <a:pt x="99740" y="17647"/>
                      <a:pt x="99740" y="17647"/>
                      <a:pt x="99740" y="17647"/>
                    </a:cubicBezTo>
                    <a:cubicBezTo>
                      <a:pt x="98181" y="12705"/>
                      <a:pt x="98181" y="12705"/>
                      <a:pt x="98181" y="12705"/>
                    </a:cubicBezTo>
                    <a:cubicBezTo>
                      <a:pt x="3636" y="15529"/>
                      <a:pt x="3636" y="15529"/>
                      <a:pt x="3636" y="15529"/>
                    </a:cubicBezTo>
                    <a:cubicBezTo>
                      <a:pt x="4155" y="0"/>
                      <a:pt x="4155" y="0"/>
                      <a:pt x="4155" y="0"/>
                    </a:cubicBezTo>
                    <a:cubicBezTo>
                      <a:pt x="4155" y="0"/>
                      <a:pt x="4155" y="0"/>
                      <a:pt x="4155" y="0"/>
                    </a:cubicBezTo>
                    <a:cubicBezTo>
                      <a:pt x="3636" y="16235"/>
                      <a:pt x="3636" y="16235"/>
                      <a:pt x="3636" y="16235"/>
                    </a:cubicBezTo>
                    <a:cubicBezTo>
                      <a:pt x="2077" y="16235"/>
                      <a:pt x="2077" y="16235"/>
                      <a:pt x="2077" y="16235"/>
                    </a:cubicBezTo>
                    <a:cubicBezTo>
                      <a:pt x="2077" y="18352"/>
                      <a:pt x="2077" y="18352"/>
                      <a:pt x="2077" y="18352"/>
                    </a:cubicBezTo>
                    <a:cubicBezTo>
                      <a:pt x="1558" y="21882"/>
                      <a:pt x="1558" y="21882"/>
                      <a:pt x="1558" y="21882"/>
                    </a:cubicBezTo>
                    <a:cubicBezTo>
                      <a:pt x="2597" y="22588"/>
                      <a:pt x="2597" y="22588"/>
                      <a:pt x="2597" y="22588"/>
                    </a:cubicBezTo>
                    <a:cubicBezTo>
                      <a:pt x="3636" y="26117"/>
                      <a:pt x="3636" y="26117"/>
                      <a:pt x="3636" y="26117"/>
                    </a:cubicBezTo>
                    <a:cubicBezTo>
                      <a:pt x="3636" y="28941"/>
                      <a:pt x="3636" y="28941"/>
                      <a:pt x="3636" y="28941"/>
                    </a:cubicBezTo>
                    <a:cubicBezTo>
                      <a:pt x="2597" y="29647"/>
                      <a:pt x="2597" y="29647"/>
                      <a:pt x="2597" y="29647"/>
                    </a:cubicBezTo>
                    <a:cubicBezTo>
                      <a:pt x="2077" y="31764"/>
                      <a:pt x="2077" y="31764"/>
                      <a:pt x="2077" y="31764"/>
                    </a:cubicBezTo>
                    <a:cubicBezTo>
                      <a:pt x="2077" y="36705"/>
                      <a:pt x="2077" y="36705"/>
                      <a:pt x="2077" y="36705"/>
                    </a:cubicBezTo>
                    <a:cubicBezTo>
                      <a:pt x="519" y="37411"/>
                      <a:pt x="519" y="37411"/>
                      <a:pt x="519" y="37411"/>
                    </a:cubicBezTo>
                    <a:cubicBezTo>
                      <a:pt x="0" y="39529"/>
                      <a:pt x="0" y="39529"/>
                      <a:pt x="0" y="39529"/>
                    </a:cubicBezTo>
                    <a:cubicBezTo>
                      <a:pt x="0" y="41647"/>
                      <a:pt x="0" y="41647"/>
                      <a:pt x="0" y="41647"/>
                    </a:cubicBezTo>
                    <a:cubicBezTo>
                      <a:pt x="2077" y="43764"/>
                      <a:pt x="2077" y="43764"/>
                      <a:pt x="2077" y="43764"/>
                    </a:cubicBezTo>
                    <a:cubicBezTo>
                      <a:pt x="2077" y="46588"/>
                      <a:pt x="2077" y="46588"/>
                      <a:pt x="2077" y="46588"/>
                    </a:cubicBezTo>
                    <a:cubicBezTo>
                      <a:pt x="2077" y="48705"/>
                      <a:pt x="2077" y="48705"/>
                      <a:pt x="2077" y="48705"/>
                    </a:cubicBezTo>
                    <a:cubicBezTo>
                      <a:pt x="1558" y="47294"/>
                      <a:pt x="1558" y="47294"/>
                      <a:pt x="1558" y="47294"/>
                    </a:cubicBezTo>
                    <a:cubicBezTo>
                      <a:pt x="3116" y="50117"/>
                      <a:pt x="3116" y="50117"/>
                      <a:pt x="3116" y="50117"/>
                    </a:cubicBezTo>
                    <a:cubicBezTo>
                      <a:pt x="4675" y="56470"/>
                      <a:pt x="4675" y="56470"/>
                      <a:pt x="4675" y="56470"/>
                    </a:cubicBezTo>
                    <a:cubicBezTo>
                      <a:pt x="6233" y="60000"/>
                      <a:pt x="6233" y="60000"/>
                      <a:pt x="6233" y="60000"/>
                    </a:cubicBezTo>
                    <a:cubicBezTo>
                      <a:pt x="7272" y="64235"/>
                      <a:pt x="7272" y="64235"/>
                      <a:pt x="7272" y="64235"/>
                    </a:cubicBezTo>
                    <a:cubicBezTo>
                      <a:pt x="8311" y="67764"/>
                      <a:pt x="8311" y="67764"/>
                      <a:pt x="8311" y="67764"/>
                    </a:cubicBezTo>
                    <a:cubicBezTo>
                      <a:pt x="9350" y="69882"/>
                      <a:pt x="9350" y="69882"/>
                      <a:pt x="9350" y="69882"/>
                    </a:cubicBezTo>
                    <a:cubicBezTo>
                      <a:pt x="9870" y="72000"/>
                      <a:pt x="9870" y="72000"/>
                      <a:pt x="9870" y="72000"/>
                    </a:cubicBezTo>
                    <a:cubicBezTo>
                      <a:pt x="10389" y="72705"/>
                      <a:pt x="10389" y="72705"/>
                      <a:pt x="10389" y="72705"/>
                    </a:cubicBezTo>
                    <a:cubicBezTo>
                      <a:pt x="10389" y="73411"/>
                      <a:pt x="10389" y="73411"/>
                      <a:pt x="10389" y="73411"/>
                    </a:cubicBezTo>
                    <a:cubicBezTo>
                      <a:pt x="8831" y="74117"/>
                      <a:pt x="8831" y="74117"/>
                      <a:pt x="8831" y="74117"/>
                    </a:cubicBezTo>
                    <a:cubicBezTo>
                      <a:pt x="9350" y="76941"/>
                      <a:pt x="9350" y="76941"/>
                      <a:pt x="9350" y="76941"/>
                    </a:cubicBezTo>
                    <a:cubicBezTo>
                      <a:pt x="9870" y="80470"/>
                      <a:pt x="9870" y="80470"/>
                      <a:pt x="9870" y="80470"/>
                    </a:cubicBezTo>
                    <a:cubicBezTo>
                      <a:pt x="10389" y="81882"/>
                      <a:pt x="10389" y="81882"/>
                      <a:pt x="10389" y="81882"/>
                    </a:cubicBezTo>
                    <a:cubicBezTo>
                      <a:pt x="11428" y="81882"/>
                      <a:pt x="11428" y="81882"/>
                      <a:pt x="11428" y="81882"/>
                    </a:cubicBezTo>
                    <a:cubicBezTo>
                      <a:pt x="12467" y="83294"/>
                      <a:pt x="12467" y="83294"/>
                      <a:pt x="12467" y="83294"/>
                    </a:cubicBezTo>
                    <a:cubicBezTo>
                      <a:pt x="13506" y="88235"/>
                      <a:pt x="13506" y="88235"/>
                      <a:pt x="13506" y="88235"/>
                    </a:cubicBezTo>
                    <a:cubicBezTo>
                      <a:pt x="13506" y="95294"/>
                      <a:pt x="13506" y="95294"/>
                      <a:pt x="13506" y="95294"/>
                    </a:cubicBezTo>
                    <a:cubicBezTo>
                      <a:pt x="12987" y="98117"/>
                      <a:pt x="12987" y="98117"/>
                      <a:pt x="12987" y="98117"/>
                    </a:cubicBezTo>
                    <a:cubicBezTo>
                      <a:pt x="14025" y="100235"/>
                      <a:pt x="14025" y="100235"/>
                      <a:pt x="14025" y="100235"/>
                    </a:cubicBezTo>
                    <a:cubicBezTo>
                      <a:pt x="14545" y="101647"/>
                      <a:pt x="14545" y="101647"/>
                      <a:pt x="14545" y="101647"/>
                    </a:cubicBezTo>
                    <a:cubicBezTo>
                      <a:pt x="14545" y="108705"/>
                      <a:pt x="14545" y="108705"/>
                      <a:pt x="14545" y="108705"/>
                    </a:cubicBezTo>
                    <a:cubicBezTo>
                      <a:pt x="15584" y="113647"/>
                      <a:pt x="15584" y="113647"/>
                      <a:pt x="15584" y="113647"/>
                    </a:cubicBezTo>
                    <a:cubicBezTo>
                      <a:pt x="15584" y="114352"/>
                      <a:pt x="15584" y="114352"/>
                      <a:pt x="15584" y="114352"/>
                    </a:cubicBezTo>
                    <a:cubicBezTo>
                      <a:pt x="91428" y="112941"/>
                      <a:pt x="91428" y="112941"/>
                      <a:pt x="91428" y="112941"/>
                    </a:cubicBezTo>
                    <a:cubicBezTo>
                      <a:pt x="97662" y="120000"/>
                      <a:pt x="97662" y="120000"/>
                      <a:pt x="97662" y="120000"/>
                    </a:cubicBezTo>
                    <a:cubicBezTo>
                      <a:pt x="98701" y="118588"/>
                      <a:pt x="98701" y="118588"/>
                      <a:pt x="98701" y="118588"/>
                    </a:cubicBezTo>
                    <a:lnTo>
                      <a:pt x="98181" y="113647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</p:grpSp>
        <p:pic>
          <p:nvPicPr>
            <p:cNvPr id="130" name="Picture 129" descr="A black sign with white text&#10;&#10;Description automatically generated">
              <a:extLst>
                <a:ext uri="{FF2B5EF4-FFF2-40B4-BE49-F238E27FC236}">
                  <a16:creationId xmlns:a16="http://schemas.microsoft.com/office/drawing/2014/main" id="{76F00A7C-DAC5-4A4E-9215-3DBFED05507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94160" y="4149452"/>
              <a:ext cx="1869395" cy="1869395"/>
            </a:xfrm>
            <a:prstGeom prst="rect">
              <a:avLst/>
            </a:prstGeom>
          </p:spPr>
        </p:pic>
      </p:grpSp>
      <p:sp>
        <p:nvSpPr>
          <p:cNvPr id="132" name="TextBox 131">
            <a:extLst>
              <a:ext uri="{FF2B5EF4-FFF2-40B4-BE49-F238E27FC236}">
                <a16:creationId xmlns:a16="http://schemas.microsoft.com/office/drawing/2014/main" id="{95F146D3-9C69-4EF1-8B22-5DE54D1D4D7A}"/>
              </a:ext>
            </a:extLst>
          </p:cNvPr>
          <p:cNvSpPr txBox="1"/>
          <p:nvPr/>
        </p:nvSpPr>
        <p:spPr>
          <a:xfrm>
            <a:off x="6580854" y="2547738"/>
            <a:ext cx="616882" cy="4462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buClr>
                <a:schemeClr val="accent3"/>
              </a:buClr>
            </a:pPr>
            <a:r>
              <a:rPr lang="en-US" sz="1400" b="1">
                <a:solidFill>
                  <a:schemeClr val="accent3"/>
                </a:solidFill>
              </a:rPr>
              <a:t>2017</a:t>
            </a: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ACFC3231-9810-4148-AA40-4986A14BFB7E}"/>
              </a:ext>
            </a:extLst>
          </p:cNvPr>
          <p:cNvSpPr txBox="1"/>
          <p:nvPr/>
        </p:nvSpPr>
        <p:spPr>
          <a:xfrm>
            <a:off x="6590210" y="2039505"/>
            <a:ext cx="2444061" cy="59733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200" b="1" dirty="0">
                <a:solidFill>
                  <a:schemeClr val="accent4"/>
                </a:solidFill>
              </a:rPr>
              <a:t>Acquired V2 Tobacco (chewing tobacco and snus business)</a:t>
            </a: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54BA9FBF-33F5-4F7E-985A-C3F9E96E9DD2}"/>
              </a:ext>
            </a:extLst>
          </p:cNvPr>
          <p:cNvSpPr txBox="1"/>
          <p:nvPr/>
        </p:nvSpPr>
        <p:spPr>
          <a:xfrm>
            <a:off x="8638869" y="3237004"/>
            <a:ext cx="616882" cy="4462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buClr>
                <a:schemeClr val="accent3"/>
              </a:buClr>
            </a:pPr>
            <a:r>
              <a:rPr lang="en-US" sz="1400" b="1">
                <a:solidFill>
                  <a:schemeClr val="accent3"/>
                </a:solidFill>
              </a:rPr>
              <a:t>2018</a:t>
            </a:r>
          </a:p>
        </p:txBody>
      </p:sp>
      <p:pic>
        <p:nvPicPr>
          <p:cNvPr id="31748" name="Picture 4" descr="See the source image">
            <a:extLst>
              <a:ext uri="{FF2B5EF4-FFF2-40B4-BE49-F238E27FC236}">
                <a16:creationId xmlns:a16="http://schemas.microsoft.com/office/drawing/2014/main" id="{D28091F5-564C-4C51-A1CA-119D512B48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9556" y="846784"/>
            <a:ext cx="2251045" cy="1500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7" name="TextBox 136">
            <a:extLst>
              <a:ext uri="{FF2B5EF4-FFF2-40B4-BE49-F238E27FC236}">
                <a16:creationId xmlns:a16="http://schemas.microsoft.com/office/drawing/2014/main" id="{E6183F48-EAD1-46EC-BB77-87220F72D63B}"/>
              </a:ext>
            </a:extLst>
          </p:cNvPr>
          <p:cNvSpPr txBox="1"/>
          <p:nvPr/>
        </p:nvSpPr>
        <p:spPr>
          <a:xfrm>
            <a:off x="8638869" y="3596398"/>
            <a:ext cx="2486304" cy="144233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200" b="1" dirty="0">
                <a:solidFill>
                  <a:schemeClr val="accent4"/>
                </a:solidFill>
              </a:rPr>
              <a:t>Acquired Oliver Twist (chewing tobacco business) and 95% of the shareholding in </a:t>
            </a:r>
            <a:r>
              <a:rPr lang="en-US" sz="1200" b="1" dirty="0" err="1">
                <a:solidFill>
                  <a:schemeClr val="accent4"/>
                </a:solidFill>
              </a:rPr>
              <a:t>Gotlandssnus</a:t>
            </a:r>
            <a:r>
              <a:rPr lang="en-US" sz="1200" b="1" dirty="0">
                <a:solidFill>
                  <a:schemeClr val="accent4"/>
                </a:solidFill>
              </a:rPr>
              <a:t> (snus business)</a:t>
            </a:r>
          </a:p>
          <a:p>
            <a:endParaRPr lang="en-US" sz="1200" b="1" dirty="0">
              <a:solidFill>
                <a:srgbClr val="075B79"/>
              </a:solidFill>
            </a:endParaRPr>
          </a:p>
          <a:p>
            <a:pPr lvl="0"/>
            <a:endParaRPr lang="en-US" sz="1200" b="1" dirty="0">
              <a:solidFill>
                <a:srgbClr val="075B79"/>
              </a:solidFill>
            </a:endParaRPr>
          </a:p>
          <a:p>
            <a:pPr>
              <a:buClr>
                <a:schemeClr val="accent3"/>
              </a:buClr>
            </a:pPr>
            <a:endParaRPr lang="en-US" sz="1400" dirty="0">
              <a:solidFill>
                <a:schemeClr val="tx2"/>
              </a:solidFill>
            </a:endParaRPr>
          </a:p>
        </p:txBody>
      </p:sp>
      <p:pic>
        <p:nvPicPr>
          <p:cNvPr id="138" name="Picture 137" descr="A picture containing drawing, plate&#10;&#10;Description automatically generated">
            <a:extLst>
              <a:ext uri="{FF2B5EF4-FFF2-40B4-BE49-F238E27FC236}">
                <a16:creationId xmlns:a16="http://schemas.microsoft.com/office/drawing/2014/main" id="{1CAB8472-E2D6-49F1-9B8C-2BDB2DCD329A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071" r="36563" b="61036"/>
          <a:stretch/>
        </p:blipFill>
        <p:spPr>
          <a:xfrm>
            <a:off x="10044298" y="4487733"/>
            <a:ext cx="877319" cy="897221"/>
          </a:xfrm>
          <a:prstGeom prst="rect">
            <a:avLst/>
          </a:prstGeom>
        </p:spPr>
      </p:pic>
      <p:pic>
        <p:nvPicPr>
          <p:cNvPr id="139" name="Picture 138" descr="A close up of a sign&#10;&#10;Description automatically generated">
            <a:extLst>
              <a:ext uri="{FF2B5EF4-FFF2-40B4-BE49-F238E27FC236}">
                <a16:creationId xmlns:a16="http://schemas.microsoft.com/office/drawing/2014/main" id="{EDE09418-8A2F-4258-A492-9EE5D18219D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8172" y="4594314"/>
            <a:ext cx="1173333" cy="782613"/>
          </a:xfrm>
          <a:prstGeom prst="rect">
            <a:avLst/>
          </a:prstGeom>
        </p:spPr>
      </p:pic>
      <p:sp>
        <p:nvSpPr>
          <p:cNvPr id="140" name="TextBox 139">
            <a:extLst>
              <a:ext uri="{FF2B5EF4-FFF2-40B4-BE49-F238E27FC236}">
                <a16:creationId xmlns:a16="http://schemas.microsoft.com/office/drawing/2014/main" id="{DA08AD23-3E93-46F8-855B-7532EC626341}"/>
              </a:ext>
            </a:extLst>
          </p:cNvPr>
          <p:cNvSpPr txBox="1"/>
          <p:nvPr/>
        </p:nvSpPr>
        <p:spPr>
          <a:xfrm>
            <a:off x="9517876" y="2547738"/>
            <a:ext cx="616882" cy="4462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buClr>
                <a:schemeClr val="accent3"/>
              </a:buClr>
            </a:pPr>
            <a:r>
              <a:rPr lang="en-US" sz="1400" b="1">
                <a:solidFill>
                  <a:schemeClr val="accent3"/>
                </a:solidFill>
              </a:rPr>
              <a:t>2019</a:t>
            </a: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CBEFCBDC-DBFB-4820-981F-E5F35AFA3785}"/>
              </a:ext>
            </a:extLst>
          </p:cNvPr>
          <p:cNvSpPr txBox="1"/>
          <p:nvPr/>
        </p:nvSpPr>
        <p:spPr>
          <a:xfrm>
            <a:off x="9523073" y="1692427"/>
            <a:ext cx="2444061" cy="59733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200" b="1">
                <a:solidFill>
                  <a:srgbClr val="075B79"/>
                </a:solidFill>
              </a:rPr>
              <a:t>US ZYN National launch </a:t>
            </a:r>
          </a:p>
          <a:p>
            <a:endParaRPr lang="en-US" sz="1200" b="1">
              <a:solidFill>
                <a:srgbClr val="075B79"/>
              </a:solidFill>
            </a:endParaRPr>
          </a:p>
          <a:p>
            <a:r>
              <a:rPr lang="en-US" sz="1200" b="1">
                <a:solidFill>
                  <a:srgbClr val="075B79"/>
                </a:solidFill>
              </a:rPr>
              <a:t>FDA MRTP Designation for General snus in the US</a:t>
            </a:r>
          </a:p>
          <a:p>
            <a:endParaRPr lang="en-US" sz="1200" b="1">
              <a:solidFill>
                <a:srgbClr val="075B79"/>
              </a:solidFill>
            </a:endParaRPr>
          </a:p>
        </p:txBody>
      </p: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F792C0AC-7DA3-4B47-A6BD-5DD77D05E9B2}"/>
              </a:ext>
            </a:extLst>
          </p:cNvPr>
          <p:cNvGrpSpPr>
            <a:grpSpLocks noChangeAspect="1"/>
          </p:cNvGrpSpPr>
          <p:nvPr/>
        </p:nvGrpSpPr>
        <p:grpSpPr>
          <a:xfrm>
            <a:off x="10193877" y="780440"/>
            <a:ext cx="1455480" cy="908943"/>
            <a:chOff x="357601" y="1838227"/>
            <a:chExt cx="5738395" cy="3583614"/>
          </a:xfrm>
        </p:grpSpPr>
        <p:grpSp>
          <p:nvGrpSpPr>
            <p:cNvPr id="147" name="Group 146">
              <a:extLst>
                <a:ext uri="{FF2B5EF4-FFF2-40B4-BE49-F238E27FC236}">
                  <a16:creationId xmlns:a16="http://schemas.microsoft.com/office/drawing/2014/main" id="{0D644056-5D2B-47F5-91FA-A8285323429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57601" y="1838227"/>
              <a:ext cx="5738395" cy="3583614"/>
              <a:chOff x="4669849" y="1309160"/>
              <a:chExt cx="6914335" cy="4317983"/>
            </a:xfrm>
            <a:solidFill>
              <a:schemeClr val="accent2"/>
            </a:solidFill>
          </p:grpSpPr>
          <p:sp>
            <p:nvSpPr>
              <p:cNvPr id="150" name="Shape 1385">
                <a:extLst>
                  <a:ext uri="{FF2B5EF4-FFF2-40B4-BE49-F238E27FC236}">
                    <a16:creationId xmlns:a16="http://schemas.microsoft.com/office/drawing/2014/main" id="{C3A2AB09-E825-4776-9BD3-27F56F0ABE2E}"/>
                  </a:ext>
                </a:extLst>
              </p:cNvPr>
              <p:cNvSpPr/>
              <p:nvPr/>
            </p:nvSpPr>
            <p:spPr>
              <a:xfrm>
                <a:off x="5008828" y="1309160"/>
                <a:ext cx="886244" cy="657708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20000" y="29684"/>
                    </a:moveTo>
                    <a:cubicBezTo>
                      <a:pt x="120000" y="29684"/>
                      <a:pt x="108793" y="101684"/>
                      <a:pt x="106459" y="105473"/>
                    </a:cubicBezTo>
                    <a:cubicBezTo>
                      <a:pt x="104591" y="109894"/>
                      <a:pt x="106926" y="108631"/>
                      <a:pt x="106926" y="113052"/>
                    </a:cubicBezTo>
                    <a:cubicBezTo>
                      <a:pt x="106926" y="116842"/>
                      <a:pt x="105992" y="120000"/>
                      <a:pt x="105992" y="120000"/>
                    </a:cubicBezTo>
                    <a:cubicBezTo>
                      <a:pt x="75175" y="109263"/>
                      <a:pt x="75175" y="109263"/>
                      <a:pt x="75175" y="109263"/>
                    </a:cubicBezTo>
                    <a:cubicBezTo>
                      <a:pt x="70038" y="108631"/>
                      <a:pt x="70038" y="108631"/>
                      <a:pt x="70038" y="108631"/>
                    </a:cubicBezTo>
                    <a:cubicBezTo>
                      <a:pt x="68171" y="109263"/>
                      <a:pt x="68171" y="109263"/>
                      <a:pt x="68171" y="109263"/>
                    </a:cubicBezTo>
                    <a:cubicBezTo>
                      <a:pt x="65836" y="108631"/>
                      <a:pt x="65836" y="108631"/>
                      <a:pt x="65836" y="108631"/>
                    </a:cubicBezTo>
                    <a:cubicBezTo>
                      <a:pt x="63968" y="109263"/>
                      <a:pt x="63968" y="109263"/>
                      <a:pt x="63968" y="109263"/>
                    </a:cubicBezTo>
                    <a:cubicBezTo>
                      <a:pt x="50428" y="109894"/>
                      <a:pt x="50428" y="109894"/>
                      <a:pt x="50428" y="109894"/>
                    </a:cubicBezTo>
                    <a:cubicBezTo>
                      <a:pt x="49027" y="108631"/>
                      <a:pt x="49027" y="108631"/>
                      <a:pt x="49027" y="108631"/>
                    </a:cubicBezTo>
                    <a:cubicBezTo>
                      <a:pt x="47626" y="109263"/>
                      <a:pt x="47626" y="109263"/>
                      <a:pt x="47626" y="109263"/>
                    </a:cubicBezTo>
                    <a:cubicBezTo>
                      <a:pt x="46225" y="109894"/>
                      <a:pt x="46225" y="109894"/>
                      <a:pt x="46225" y="109894"/>
                    </a:cubicBezTo>
                    <a:cubicBezTo>
                      <a:pt x="45291" y="109894"/>
                      <a:pt x="45291" y="109894"/>
                      <a:pt x="45291" y="109894"/>
                    </a:cubicBezTo>
                    <a:cubicBezTo>
                      <a:pt x="43891" y="109263"/>
                      <a:pt x="43891" y="109263"/>
                      <a:pt x="43891" y="109263"/>
                    </a:cubicBezTo>
                    <a:cubicBezTo>
                      <a:pt x="43891" y="108631"/>
                      <a:pt x="43891" y="108631"/>
                      <a:pt x="43891" y="108631"/>
                    </a:cubicBezTo>
                    <a:cubicBezTo>
                      <a:pt x="41556" y="108631"/>
                      <a:pt x="41556" y="108631"/>
                      <a:pt x="41556" y="108631"/>
                    </a:cubicBezTo>
                    <a:cubicBezTo>
                      <a:pt x="40155" y="108000"/>
                      <a:pt x="40155" y="108000"/>
                      <a:pt x="40155" y="108000"/>
                    </a:cubicBezTo>
                    <a:cubicBezTo>
                      <a:pt x="39688" y="106736"/>
                      <a:pt x="39688" y="106736"/>
                      <a:pt x="39688" y="106736"/>
                    </a:cubicBezTo>
                    <a:cubicBezTo>
                      <a:pt x="39688" y="106105"/>
                      <a:pt x="39688" y="106105"/>
                      <a:pt x="39688" y="106105"/>
                    </a:cubicBezTo>
                    <a:cubicBezTo>
                      <a:pt x="37821" y="105473"/>
                      <a:pt x="37821" y="105473"/>
                      <a:pt x="37821" y="105473"/>
                    </a:cubicBezTo>
                    <a:cubicBezTo>
                      <a:pt x="34085" y="104210"/>
                      <a:pt x="34085" y="104210"/>
                      <a:pt x="34085" y="104210"/>
                    </a:cubicBezTo>
                    <a:cubicBezTo>
                      <a:pt x="31750" y="102947"/>
                      <a:pt x="31750" y="102947"/>
                      <a:pt x="31750" y="102947"/>
                    </a:cubicBezTo>
                    <a:cubicBezTo>
                      <a:pt x="30817" y="102315"/>
                      <a:pt x="30817" y="102315"/>
                      <a:pt x="30817" y="102315"/>
                    </a:cubicBezTo>
                    <a:cubicBezTo>
                      <a:pt x="28015" y="102947"/>
                      <a:pt x="28015" y="102947"/>
                      <a:pt x="28015" y="102947"/>
                    </a:cubicBezTo>
                    <a:cubicBezTo>
                      <a:pt x="23813" y="104210"/>
                      <a:pt x="23813" y="104210"/>
                      <a:pt x="23813" y="104210"/>
                    </a:cubicBezTo>
                    <a:cubicBezTo>
                      <a:pt x="18677" y="102315"/>
                      <a:pt x="18677" y="102315"/>
                      <a:pt x="18677" y="102315"/>
                    </a:cubicBezTo>
                    <a:cubicBezTo>
                      <a:pt x="15408" y="98526"/>
                      <a:pt x="15408" y="98526"/>
                      <a:pt x="15408" y="98526"/>
                    </a:cubicBezTo>
                    <a:cubicBezTo>
                      <a:pt x="15408" y="98526"/>
                      <a:pt x="16809" y="94105"/>
                      <a:pt x="16342" y="88421"/>
                    </a:cubicBezTo>
                    <a:cubicBezTo>
                      <a:pt x="15875" y="82105"/>
                      <a:pt x="13540" y="80842"/>
                      <a:pt x="13540" y="80842"/>
                    </a:cubicBezTo>
                    <a:cubicBezTo>
                      <a:pt x="11206" y="80842"/>
                      <a:pt x="11206" y="80842"/>
                      <a:pt x="11206" y="80842"/>
                    </a:cubicBezTo>
                    <a:cubicBezTo>
                      <a:pt x="9338" y="79578"/>
                      <a:pt x="9338" y="79578"/>
                      <a:pt x="9338" y="79578"/>
                    </a:cubicBezTo>
                    <a:cubicBezTo>
                      <a:pt x="9338" y="79578"/>
                      <a:pt x="9338" y="75789"/>
                      <a:pt x="7003" y="75789"/>
                    </a:cubicBezTo>
                    <a:cubicBezTo>
                      <a:pt x="4669" y="75789"/>
                      <a:pt x="4669" y="75789"/>
                      <a:pt x="4669" y="75789"/>
                    </a:cubicBezTo>
                    <a:cubicBezTo>
                      <a:pt x="1867" y="75157"/>
                      <a:pt x="1867" y="75157"/>
                      <a:pt x="1867" y="75157"/>
                    </a:cubicBezTo>
                    <a:cubicBezTo>
                      <a:pt x="0" y="73263"/>
                      <a:pt x="0" y="73263"/>
                      <a:pt x="0" y="73263"/>
                    </a:cubicBezTo>
                    <a:cubicBezTo>
                      <a:pt x="466" y="68842"/>
                      <a:pt x="466" y="68842"/>
                      <a:pt x="466" y="68842"/>
                    </a:cubicBezTo>
                    <a:cubicBezTo>
                      <a:pt x="1400" y="65052"/>
                      <a:pt x="1400" y="65052"/>
                      <a:pt x="1400" y="65052"/>
                    </a:cubicBezTo>
                    <a:cubicBezTo>
                      <a:pt x="1867" y="64421"/>
                      <a:pt x="1867" y="64421"/>
                      <a:pt x="1867" y="64421"/>
                    </a:cubicBezTo>
                    <a:cubicBezTo>
                      <a:pt x="2334" y="66315"/>
                      <a:pt x="2334" y="66315"/>
                      <a:pt x="2334" y="66315"/>
                    </a:cubicBezTo>
                    <a:cubicBezTo>
                      <a:pt x="2801" y="66947"/>
                      <a:pt x="2801" y="66947"/>
                      <a:pt x="2801" y="66947"/>
                    </a:cubicBezTo>
                    <a:cubicBezTo>
                      <a:pt x="3268" y="66315"/>
                      <a:pt x="3268" y="66315"/>
                      <a:pt x="3268" y="66315"/>
                    </a:cubicBezTo>
                    <a:cubicBezTo>
                      <a:pt x="3268" y="63789"/>
                      <a:pt x="3268" y="63789"/>
                      <a:pt x="3268" y="63789"/>
                    </a:cubicBezTo>
                    <a:cubicBezTo>
                      <a:pt x="5136" y="62526"/>
                      <a:pt x="5136" y="62526"/>
                      <a:pt x="5136" y="62526"/>
                    </a:cubicBezTo>
                    <a:cubicBezTo>
                      <a:pt x="5136" y="61894"/>
                      <a:pt x="5136" y="61894"/>
                      <a:pt x="5136" y="61894"/>
                    </a:cubicBezTo>
                    <a:cubicBezTo>
                      <a:pt x="4202" y="60631"/>
                      <a:pt x="4202" y="60631"/>
                      <a:pt x="4202" y="60631"/>
                    </a:cubicBezTo>
                    <a:cubicBezTo>
                      <a:pt x="3735" y="60000"/>
                      <a:pt x="3735" y="60000"/>
                      <a:pt x="3735" y="60000"/>
                    </a:cubicBezTo>
                    <a:cubicBezTo>
                      <a:pt x="3268" y="55578"/>
                      <a:pt x="3268" y="55578"/>
                      <a:pt x="3268" y="55578"/>
                    </a:cubicBezTo>
                    <a:cubicBezTo>
                      <a:pt x="6536" y="54947"/>
                      <a:pt x="6536" y="54947"/>
                      <a:pt x="6536" y="54947"/>
                    </a:cubicBezTo>
                    <a:cubicBezTo>
                      <a:pt x="7470" y="53684"/>
                      <a:pt x="7470" y="53684"/>
                      <a:pt x="7470" y="53684"/>
                    </a:cubicBezTo>
                    <a:cubicBezTo>
                      <a:pt x="4669" y="50526"/>
                      <a:pt x="4669" y="50526"/>
                      <a:pt x="4669" y="50526"/>
                    </a:cubicBezTo>
                    <a:cubicBezTo>
                      <a:pt x="3735" y="49263"/>
                      <a:pt x="3735" y="49263"/>
                      <a:pt x="3735" y="49263"/>
                    </a:cubicBezTo>
                    <a:cubicBezTo>
                      <a:pt x="2801" y="40421"/>
                      <a:pt x="2801" y="40421"/>
                      <a:pt x="2801" y="40421"/>
                    </a:cubicBezTo>
                    <a:cubicBezTo>
                      <a:pt x="2801" y="37894"/>
                      <a:pt x="2801" y="37894"/>
                      <a:pt x="2801" y="37894"/>
                    </a:cubicBezTo>
                    <a:cubicBezTo>
                      <a:pt x="3735" y="37263"/>
                      <a:pt x="3735" y="37263"/>
                      <a:pt x="3735" y="37263"/>
                    </a:cubicBezTo>
                    <a:cubicBezTo>
                      <a:pt x="3735" y="25894"/>
                      <a:pt x="3735" y="25894"/>
                      <a:pt x="3735" y="25894"/>
                    </a:cubicBezTo>
                    <a:cubicBezTo>
                      <a:pt x="1400" y="23368"/>
                      <a:pt x="1400" y="23368"/>
                      <a:pt x="1400" y="23368"/>
                    </a:cubicBezTo>
                    <a:cubicBezTo>
                      <a:pt x="1400" y="14526"/>
                      <a:pt x="1400" y="14526"/>
                      <a:pt x="1400" y="14526"/>
                    </a:cubicBezTo>
                    <a:cubicBezTo>
                      <a:pt x="3735" y="10736"/>
                      <a:pt x="3735" y="10736"/>
                      <a:pt x="3735" y="10736"/>
                    </a:cubicBezTo>
                    <a:cubicBezTo>
                      <a:pt x="4669" y="6315"/>
                      <a:pt x="4669" y="6315"/>
                      <a:pt x="4669" y="6315"/>
                    </a:cubicBezTo>
                    <a:cubicBezTo>
                      <a:pt x="9805" y="13263"/>
                      <a:pt x="9805" y="13263"/>
                      <a:pt x="9805" y="13263"/>
                    </a:cubicBezTo>
                    <a:cubicBezTo>
                      <a:pt x="15408" y="18947"/>
                      <a:pt x="15408" y="18947"/>
                      <a:pt x="15408" y="18947"/>
                    </a:cubicBezTo>
                    <a:cubicBezTo>
                      <a:pt x="19610" y="21473"/>
                      <a:pt x="19610" y="21473"/>
                      <a:pt x="19610" y="21473"/>
                    </a:cubicBezTo>
                    <a:cubicBezTo>
                      <a:pt x="22879" y="22736"/>
                      <a:pt x="22879" y="22736"/>
                      <a:pt x="22879" y="22736"/>
                    </a:cubicBezTo>
                    <a:cubicBezTo>
                      <a:pt x="24280" y="22736"/>
                      <a:pt x="24280" y="22736"/>
                      <a:pt x="24280" y="22736"/>
                    </a:cubicBezTo>
                    <a:cubicBezTo>
                      <a:pt x="25680" y="22736"/>
                      <a:pt x="25680" y="22736"/>
                      <a:pt x="25680" y="22736"/>
                    </a:cubicBezTo>
                    <a:cubicBezTo>
                      <a:pt x="26614" y="27157"/>
                      <a:pt x="26614" y="27157"/>
                      <a:pt x="26614" y="27157"/>
                    </a:cubicBezTo>
                    <a:cubicBezTo>
                      <a:pt x="30350" y="26526"/>
                      <a:pt x="30350" y="26526"/>
                      <a:pt x="30350" y="26526"/>
                    </a:cubicBezTo>
                    <a:cubicBezTo>
                      <a:pt x="30817" y="32842"/>
                      <a:pt x="30817" y="32842"/>
                      <a:pt x="30817" y="32842"/>
                    </a:cubicBezTo>
                    <a:cubicBezTo>
                      <a:pt x="29416" y="35368"/>
                      <a:pt x="29416" y="35368"/>
                      <a:pt x="29416" y="35368"/>
                    </a:cubicBezTo>
                    <a:cubicBezTo>
                      <a:pt x="25214" y="38526"/>
                      <a:pt x="25214" y="38526"/>
                      <a:pt x="25214" y="38526"/>
                    </a:cubicBezTo>
                    <a:cubicBezTo>
                      <a:pt x="22412" y="43578"/>
                      <a:pt x="22412" y="43578"/>
                      <a:pt x="22412" y="43578"/>
                    </a:cubicBezTo>
                    <a:cubicBezTo>
                      <a:pt x="21478" y="46105"/>
                      <a:pt x="21478" y="46105"/>
                      <a:pt x="21478" y="46105"/>
                    </a:cubicBezTo>
                    <a:cubicBezTo>
                      <a:pt x="22412" y="46736"/>
                      <a:pt x="22412" y="46736"/>
                      <a:pt x="22412" y="46736"/>
                    </a:cubicBezTo>
                    <a:cubicBezTo>
                      <a:pt x="24280" y="44210"/>
                      <a:pt x="24280" y="44210"/>
                      <a:pt x="24280" y="44210"/>
                    </a:cubicBezTo>
                    <a:cubicBezTo>
                      <a:pt x="25680" y="41684"/>
                      <a:pt x="25680" y="41684"/>
                      <a:pt x="25680" y="41684"/>
                    </a:cubicBezTo>
                    <a:cubicBezTo>
                      <a:pt x="29883" y="37894"/>
                      <a:pt x="29883" y="37894"/>
                      <a:pt x="29883" y="37894"/>
                    </a:cubicBezTo>
                    <a:cubicBezTo>
                      <a:pt x="32684" y="36000"/>
                      <a:pt x="32684" y="36000"/>
                      <a:pt x="32684" y="36000"/>
                    </a:cubicBezTo>
                    <a:cubicBezTo>
                      <a:pt x="32217" y="38526"/>
                      <a:pt x="32217" y="38526"/>
                      <a:pt x="32217" y="38526"/>
                    </a:cubicBezTo>
                    <a:cubicBezTo>
                      <a:pt x="30817" y="40421"/>
                      <a:pt x="30817" y="40421"/>
                      <a:pt x="30817" y="40421"/>
                    </a:cubicBezTo>
                    <a:cubicBezTo>
                      <a:pt x="28949" y="46736"/>
                      <a:pt x="28949" y="46736"/>
                      <a:pt x="28949" y="46736"/>
                    </a:cubicBezTo>
                    <a:cubicBezTo>
                      <a:pt x="24280" y="50526"/>
                      <a:pt x="24280" y="50526"/>
                      <a:pt x="24280" y="50526"/>
                    </a:cubicBezTo>
                    <a:cubicBezTo>
                      <a:pt x="21478" y="54315"/>
                      <a:pt x="21478" y="54315"/>
                      <a:pt x="21478" y="54315"/>
                    </a:cubicBezTo>
                    <a:cubicBezTo>
                      <a:pt x="21478" y="57473"/>
                      <a:pt x="21478" y="57473"/>
                      <a:pt x="21478" y="57473"/>
                    </a:cubicBezTo>
                    <a:cubicBezTo>
                      <a:pt x="23346" y="58105"/>
                      <a:pt x="23346" y="58105"/>
                      <a:pt x="23346" y="58105"/>
                    </a:cubicBezTo>
                    <a:cubicBezTo>
                      <a:pt x="25680" y="54947"/>
                      <a:pt x="25680" y="54947"/>
                      <a:pt x="25680" y="54947"/>
                    </a:cubicBezTo>
                    <a:cubicBezTo>
                      <a:pt x="28015" y="52421"/>
                      <a:pt x="28015" y="52421"/>
                      <a:pt x="28015" y="52421"/>
                    </a:cubicBezTo>
                    <a:cubicBezTo>
                      <a:pt x="30350" y="51789"/>
                      <a:pt x="30350" y="51789"/>
                      <a:pt x="30350" y="51789"/>
                    </a:cubicBezTo>
                    <a:cubicBezTo>
                      <a:pt x="32217" y="49263"/>
                      <a:pt x="32217" y="49263"/>
                      <a:pt x="32217" y="49263"/>
                    </a:cubicBezTo>
                    <a:cubicBezTo>
                      <a:pt x="33151" y="42947"/>
                      <a:pt x="33151" y="42947"/>
                      <a:pt x="33151" y="42947"/>
                    </a:cubicBezTo>
                    <a:cubicBezTo>
                      <a:pt x="35019" y="37894"/>
                      <a:pt x="35019" y="37894"/>
                      <a:pt x="35019" y="37894"/>
                    </a:cubicBezTo>
                    <a:cubicBezTo>
                      <a:pt x="37354" y="34105"/>
                      <a:pt x="37354" y="34105"/>
                      <a:pt x="37354" y="34105"/>
                    </a:cubicBezTo>
                    <a:cubicBezTo>
                      <a:pt x="37821" y="31578"/>
                      <a:pt x="37821" y="31578"/>
                      <a:pt x="37821" y="31578"/>
                    </a:cubicBezTo>
                    <a:cubicBezTo>
                      <a:pt x="36420" y="26526"/>
                      <a:pt x="36420" y="26526"/>
                      <a:pt x="36420" y="26526"/>
                    </a:cubicBezTo>
                    <a:cubicBezTo>
                      <a:pt x="36420" y="21473"/>
                      <a:pt x="36420" y="21473"/>
                      <a:pt x="36420" y="21473"/>
                    </a:cubicBezTo>
                    <a:cubicBezTo>
                      <a:pt x="35019" y="22105"/>
                      <a:pt x="35019" y="22105"/>
                      <a:pt x="35019" y="22105"/>
                    </a:cubicBezTo>
                    <a:cubicBezTo>
                      <a:pt x="34085" y="24000"/>
                      <a:pt x="34085" y="24000"/>
                      <a:pt x="34085" y="24000"/>
                    </a:cubicBezTo>
                    <a:cubicBezTo>
                      <a:pt x="34552" y="29052"/>
                      <a:pt x="34552" y="29052"/>
                      <a:pt x="34552" y="29052"/>
                    </a:cubicBezTo>
                    <a:cubicBezTo>
                      <a:pt x="35486" y="32842"/>
                      <a:pt x="35486" y="32842"/>
                      <a:pt x="35486" y="32842"/>
                    </a:cubicBezTo>
                    <a:cubicBezTo>
                      <a:pt x="35486" y="34105"/>
                      <a:pt x="35486" y="34105"/>
                      <a:pt x="35486" y="34105"/>
                    </a:cubicBezTo>
                    <a:cubicBezTo>
                      <a:pt x="34552" y="33473"/>
                      <a:pt x="34552" y="33473"/>
                      <a:pt x="34552" y="33473"/>
                    </a:cubicBezTo>
                    <a:cubicBezTo>
                      <a:pt x="33618" y="32210"/>
                      <a:pt x="33618" y="32210"/>
                      <a:pt x="33618" y="32210"/>
                    </a:cubicBezTo>
                    <a:cubicBezTo>
                      <a:pt x="32684" y="29052"/>
                      <a:pt x="32684" y="29052"/>
                      <a:pt x="32684" y="29052"/>
                    </a:cubicBezTo>
                    <a:cubicBezTo>
                      <a:pt x="31750" y="25894"/>
                      <a:pt x="31750" y="25894"/>
                      <a:pt x="31750" y="25894"/>
                    </a:cubicBezTo>
                    <a:cubicBezTo>
                      <a:pt x="31750" y="23368"/>
                      <a:pt x="31750" y="23368"/>
                      <a:pt x="31750" y="23368"/>
                    </a:cubicBezTo>
                    <a:cubicBezTo>
                      <a:pt x="34085" y="20210"/>
                      <a:pt x="34085" y="20210"/>
                      <a:pt x="34085" y="20210"/>
                    </a:cubicBezTo>
                    <a:cubicBezTo>
                      <a:pt x="35019" y="17684"/>
                      <a:pt x="35019" y="17684"/>
                      <a:pt x="35019" y="17684"/>
                    </a:cubicBezTo>
                    <a:cubicBezTo>
                      <a:pt x="34552" y="15157"/>
                      <a:pt x="34552" y="15157"/>
                      <a:pt x="34552" y="15157"/>
                    </a:cubicBezTo>
                    <a:cubicBezTo>
                      <a:pt x="36887" y="18315"/>
                      <a:pt x="36887" y="18315"/>
                      <a:pt x="36887" y="18315"/>
                    </a:cubicBezTo>
                    <a:cubicBezTo>
                      <a:pt x="37354" y="18947"/>
                      <a:pt x="37354" y="18947"/>
                      <a:pt x="37354" y="18947"/>
                    </a:cubicBezTo>
                    <a:cubicBezTo>
                      <a:pt x="37821" y="15157"/>
                      <a:pt x="37821" y="15157"/>
                      <a:pt x="37821" y="15157"/>
                    </a:cubicBezTo>
                    <a:cubicBezTo>
                      <a:pt x="36887" y="9473"/>
                      <a:pt x="36887" y="9473"/>
                      <a:pt x="36887" y="9473"/>
                    </a:cubicBezTo>
                    <a:cubicBezTo>
                      <a:pt x="37354" y="7578"/>
                      <a:pt x="37354" y="7578"/>
                      <a:pt x="37354" y="7578"/>
                    </a:cubicBezTo>
                    <a:cubicBezTo>
                      <a:pt x="35953" y="6947"/>
                      <a:pt x="35953" y="6947"/>
                      <a:pt x="35953" y="6947"/>
                    </a:cubicBezTo>
                    <a:cubicBezTo>
                      <a:pt x="35486" y="0"/>
                      <a:pt x="35486" y="0"/>
                      <a:pt x="35486" y="0"/>
                    </a:cubicBezTo>
                    <a:cubicBezTo>
                      <a:pt x="35486" y="0"/>
                      <a:pt x="62101" y="10105"/>
                      <a:pt x="67704" y="12000"/>
                    </a:cubicBezTo>
                    <a:cubicBezTo>
                      <a:pt x="72840" y="13894"/>
                      <a:pt x="107392" y="26526"/>
                      <a:pt x="109727" y="27157"/>
                    </a:cubicBezTo>
                    <a:cubicBezTo>
                      <a:pt x="112062" y="28421"/>
                      <a:pt x="114863" y="28421"/>
                      <a:pt x="114863" y="28421"/>
                    </a:cubicBezTo>
                    <a:lnTo>
                      <a:pt x="120000" y="29684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51" name="Shape 1386">
                <a:extLst>
                  <a:ext uri="{FF2B5EF4-FFF2-40B4-BE49-F238E27FC236}">
                    <a16:creationId xmlns:a16="http://schemas.microsoft.com/office/drawing/2014/main" id="{A97DC8E3-89CB-4C4E-BB05-14BCC53C2DDE}"/>
                  </a:ext>
                </a:extLst>
              </p:cNvPr>
              <p:cNvSpPr/>
              <p:nvPr/>
            </p:nvSpPr>
            <p:spPr>
              <a:xfrm>
                <a:off x="6332066" y="3625430"/>
                <a:ext cx="931169" cy="955920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7894" y="0"/>
                    </a:moveTo>
                    <a:lnTo>
                      <a:pt x="119999" y="11794"/>
                    </a:lnTo>
                    <a:lnTo>
                      <a:pt x="119473" y="22564"/>
                    </a:lnTo>
                    <a:lnTo>
                      <a:pt x="117894" y="22564"/>
                    </a:lnTo>
                    <a:lnTo>
                      <a:pt x="110526" y="115897"/>
                    </a:lnTo>
                    <a:lnTo>
                      <a:pt x="47894" y="110256"/>
                    </a:lnTo>
                    <a:lnTo>
                      <a:pt x="47368" y="114871"/>
                    </a:lnTo>
                    <a:lnTo>
                      <a:pt x="16842" y="111794"/>
                    </a:lnTo>
                    <a:lnTo>
                      <a:pt x="15263" y="120000"/>
                    </a:lnTo>
                    <a:lnTo>
                      <a:pt x="0" y="117948"/>
                    </a:lnTo>
                    <a:lnTo>
                      <a:pt x="17894" y="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52" name="Shape 1387">
                <a:extLst>
                  <a:ext uri="{FF2B5EF4-FFF2-40B4-BE49-F238E27FC236}">
                    <a16:creationId xmlns:a16="http://schemas.microsoft.com/office/drawing/2014/main" id="{ECF3F4B8-D5A8-4A45-8C2F-FFEB7E5DA37E}"/>
                  </a:ext>
                </a:extLst>
              </p:cNvPr>
              <p:cNvSpPr/>
              <p:nvPr/>
            </p:nvSpPr>
            <p:spPr>
              <a:xfrm>
                <a:off x="6679211" y="3805175"/>
                <a:ext cx="1846001" cy="1821968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18407" y="68071"/>
                    </a:moveTo>
                    <a:lnTo>
                      <a:pt x="118938" y="65919"/>
                    </a:lnTo>
                    <a:lnTo>
                      <a:pt x="120000" y="64573"/>
                    </a:lnTo>
                    <a:lnTo>
                      <a:pt x="119469" y="62959"/>
                    </a:lnTo>
                    <a:lnTo>
                      <a:pt x="118938" y="60807"/>
                    </a:lnTo>
                    <a:lnTo>
                      <a:pt x="118672" y="59999"/>
                    </a:lnTo>
                    <a:lnTo>
                      <a:pt x="118672" y="58385"/>
                    </a:lnTo>
                    <a:lnTo>
                      <a:pt x="118407" y="57847"/>
                    </a:lnTo>
                    <a:lnTo>
                      <a:pt x="117345" y="55426"/>
                    </a:lnTo>
                    <a:lnTo>
                      <a:pt x="117345" y="54887"/>
                    </a:lnTo>
                    <a:lnTo>
                      <a:pt x="115486" y="53273"/>
                    </a:lnTo>
                    <a:lnTo>
                      <a:pt x="115486" y="35246"/>
                    </a:lnTo>
                    <a:lnTo>
                      <a:pt x="112831" y="34977"/>
                    </a:lnTo>
                    <a:lnTo>
                      <a:pt x="112300" y="35515"/>
                    </a:lnTo>
                    <a:lnTo>
                      <a:pt x="111504" y="35246"/>
                    </a:lnTo>
                    <a:lnTo>
                      <a:pt x="110707" y="34439"/>
                    </a:lnTo>
                    <a:lnTo>
                      <a:pt x="109646" y="33901"/>
                    </a:lnTo>
                    <a:lnTo>
                      <a:pt x="108318" y="33901"/>
                    </a:lnTo>
                    <a:lnTo>
                      <a:pt x="106725" y="32825"/>
                    </a:lnTo>
                    <a:lnTo>
                      <a:pt x="105663" y="31479"/>
                    </a:lnTo>
                    <a:lnTo>
                      <a:pt x="104336" y="31210"/>
                    </a:lnTo>
                    <a:lnTo>
                      <a:pt x="102212" y="31748"/>
                    </a:lnTo>
                    <a:lnTo>
                      <a:pt x="101681" y="31479"/>
                    </a:lnTo>
                    <a:lnTo>
                      <a:pt x="100353" y="31210"/>
                    </a:lnTo>
                    <a:lnTo>
                      <a:pt x="99292" y="32017"/>
                    </a:lnTo>
                    <a:lnTo>
                      <a:pt x="98761" y="32286"/>
                    </a:lnTo>
                    <a:lnTo>
                      <a:pt x="97964" y="31748"/>
                    </a:lnTo>
                    <a:lnTo>
                      <a:pt x="96902" y="31748"/>
                    </a:lnTo>
                    <a:lnTo>
                      <a:pt x="96371" y="32556"/>
                    </a:lnTo>
                    <a:lnTo>
                      <a:pt x="95044" y="33363"/>
                    </a:lnTo>
                    <a:lnTo>
                      <a:pt x="93982" y="33632"/>
                    </a:lnTo>
                    <a:lnTo>
                      <a:pt x="93451" y="32825"/>
                    </a:lnTo>
                    <a:lnTo>
                      <a:pt x="92654" y="32017"/>
                    </a:lnTo>
                    <a:lnTo>
                      <a:pt x="90530" y="32286"/>
                    </a:lnTo>
                    <a:lnTo>
                      <a:pt x="89203" y="31479"/>
                    </a:lnTo>
                    <a:lnTo>
                      <a:pt x="88141" y="31748"/>
                    </a:lnTo>
                    <a:lnTo>
                      <a:pt x="87610" y="32825"/>
                    </a:lnTo>
                    <a:lnTo>
                      <a:pt x="87079" y="33094"/>
                    </a:lnTo>
                    <a:lnTo>
                      <a:pt x="86814" y="31748"/>
                    </a:lnTo>
                    <a:lnTo>
                      <a:pt x="86283" y="31210"/>
                    </a:lnTo>
                    <a:lnTo>
                      <a:pt x="84690" y="32286"/>
                    </a:lnTo>
                    <a:lnTo>
                      <a:pt x="84424" y="31210"/>
                    </a:lnTo>
                    <a:lnTo>
                      <a:pt x="82831" y="30134"/>
                    </a:lnTo>
                    <a:lnTo>
                      <a:pt x="82300" y="30134"/>
                    </a:lnTo>
                    <a:lnTo>
                      <a:pt x="81769" y="30941"/>
                    </a:lnTo>
                    <a:lnTo>
                      <a:pt x="80973" y="31479"/>
                    </a:lnTo>
                    <a:lnTo>
                      <a:pt x="80176" y="31210"/>
                    </a:lnTo>
                    <a:lnTo>
                      <a:pt x="79911" y="29865"/>
                    </a:lnTo>
                    <a:lnTo>
                      <a:pt x="79115" y="29865"/>
                    </a:lnTo>
                    <a:lnTo>
                      <a:pt x="78318" y="28251"/>
                    </a:lnTo>
                    <a:lnTo>
                      <a:pt x="76194" y="28251"/>
                    </a:lnTo>
                    <a:lnTo>
                      <a:pt x="75398" y="28789"/>
                    </a:lnTo>
                    <a:lnTo>
                      <a:pt x="74601" y="27982"/>
                    </a:lnTo>
                    <a:lnTo>
                      <a:pt x="74336" y="27982"/>
                    </a:lnTo>
                    <a:lnTo>
                      <a:pt x="73008" y="28251"/>
                    </a:lnTo>
                    <a:lnTo>
                      <a:pt x="71415" y="27174"/>
                    </a:lnTo>
                    <a:lnTo>
                      <a:pt x="69292" y="27174"/>
                    </a:lnTo>
                    <a:lnTo>
                      <a:pt x="68761" y="25291"/>
                    </a:lnTo>
                    <a:lnTo>
                      <a:pt x="67699" y="24753"/>
                    </a:lnTo>
                    <a:lnTo>
                      <a:pt x="67168" y="25022"/>
                    </a:lnTo>
                    <a:lnTo>
                      <a:pt x="66371" y="24753"/>
                    </a:lnTo>
                    <a:lnTo>
                      <a:pt x="65575" y="25022"/>
                    </a:lnTo>
                    <a:lnTo>
                      <a:pt x="64778" y="25022"/>
                    </a:lnTo>
                    <a:lnTo>
                      <a:pt x="64247" y="24215"/>
                    </a:lnTo>
                    <a:lnTo>
                      <a:pt x="62389" y="22331"/>
                    </a:lnTo>
                    <a:lnTo>
                      <a:pt x="63451" y="1614"/>
                    </a:lnTo>
                    <a:lnTo>
                      <a:pt x="36902" y="0"/>
                    </a:lnTo>
                    <a:lnTo>
                      <a:pt x="33185" y="48968"/>
                    </a:lnTo>
                    <a:lnTo>
                      <a:pt x="1592" y="46008"/>
                    </a:lnTo>
                    <a:lnTo>
                      <a:pt x="1327" y="48430"/>
                    </a:lnTo>
                    <a:lnTo>
                      <a:pt x="0" y="48430"/>
                    </a:lnTo>
                    <a:lnTo>
                      <a:pt x="530" y="49237"/>
                    </a:lnTo>
                    <a:lnTo>
                      <a:pt x="1858" y="50044"/>
                    </a:lnTo>
                    <a:lnTo>
                      <a:pt x="2654" y="51121"/>
                    </a:lnTo>
                    <a:lnTo>
                      <a:pt x="2920" y="51928"/>
                    </a:lnTo>
                    <a:lnTo>
                      <a:pt x="3451" y="53004"/>
                    </a:lnTo>
                    <a:lnTo>
                      <a:pt x="3982" y="53273"/>
                    </a:lnTo>
                    <a:lnTo>
                      <a:pt x="4778" y="53811"/>
                    </a:lnTo>
                    <a:lnTo>
                      <a:pt x="5575" y="54349"/>
                    </a:lnTo>
                    <a:lnTo>
                      <a:pt x="5840" y="55156"/>
                    </a:lnTo>
                    <a:lnTo>
                      <a:pt x="6902" y="56502"/>
                    </a:lnTo>
                    <a:lnTo>
                      <a:pt x="7964" y="57309"/>
                    </a:lnTo>
                    <a:lnTo>
                      <a:pt x="10088" y="60269"/>
                    </a:lnTo>
                    <a:lnTo>
                      <a:pt x="10884" y="60269"/>
                    </a:lnTo>
                    <a:lnTo>
                      <a:pt x="11681" y="61076"/>
                    </a:lnTo>
                    <a:lnTo>
                      <a:pt x="12743" y="61883"/>
                    </a:lnTo>
                    <a:lnTo>
                      <a:pt x="14070" y="62959"/>
                    </a:lnTo>
                    <a:lnTo>
                      <a:pt x="14601" y="64035"/>
                    </a:lnTo>
                    <a:lnTo>
                      <a:pt x="14601" y="65919"/>
                    </a:lnTo>
                    <a:lnTo>
                      <a:pt x="15663" y="67533"/>
                    </a:lnTo>
                    <a:lnTo>
                      <a:pt x="15929" y="68609"/>
                    </a:lnTo>
                    <a:lnTo>
                      <a:pt x="15663" y="69686"/>
                    </a:lnTo>
                    <a:lnTo>
                      <a:pt x="15663" y="71031"/>
                    </a:lnTo>
                    <a:lnTo>
                      <a:pt x="15929" y="72645"/>
                    </a:lnTo>
                    <a:lnTo>
                      <a:pt x="17256" y="73991"/>
                    </a:lnTo>
                    <a:lnTo>
                      <a:pt x="17522" y="74798"/>
                    </a:lnTo>
                    <a:lnTo>
                      <a:pt x="17787" y="75067"/>
                    </a:lnTo>
                    <a:lnTo>
                      <a:pt x="18318" y="75605"/>
                    </a:lnTo>
                    <a:lnTo>
                      <a:pt x="18849" y="76143"/>
                    </a:lnTo>
                    <a:lnTo>
                      <a:pt x="19646" y="76950"/>
                    </a:lnTo>
                    <a:lnTo>
                      <a:pt x="20707" y="77757"/>
                    </a:lnTo>
                    <a:lnTo>
                      <a:pt x="21504" y="78565"/>
                    </a:lnTo>
                    <a:lnTo>
                      <a:pt x="22300" y="78834"/>
                    </a:lnTo>
                    <a:lnTo>
                      <a:pt x="23362" y="79641"/>
                    </a:lnTo>
                    <a:lnTo>
                      <a:pt x="24955" y="80448"/>
                    </a:lnTo>
                    <a:lnTo>
                      <a:pt x="26814" y="81793"/>
                    </a:lnTo>
                    <a:lnTo>
                      <a:pt x="27610" y="82062"/>
                    </a:lnTo>
                    <a:lnTo>
                      <a:pt x="28938" y="82600"/>
                    </a:lnTo>
                    <a:lnTo>
                      <a:pt x="30000" y="82600"/>
                    </a:lnTo>
                    <a:lnTo>
                      <a:pt x="30530" y="81524"/>
                    </a:lnTo>
                    <a:lnTo>
                      <a:pt x="31327" y="80717"/>
                    </a:lnTo>
                    <a:lnTo>
                      <a:pt x="31858" y="80179"/>
                    </a:lnTo>
                    <a:lnTo>
                      <a:pt x="32654" y="79910"/>
                    </a:lnTo>
                    <a:lnTo>
                      <a:pt x="32654" y="78565"/>
                    </a:lnTo>
                    <a:lnTo>
                      <a:pt x="33185" y="77488"/>
                    </a:lnTo>
                    <a:lnTo>
                      <a:pt x="33716" y="76143"/>
                    </a:lnTo>
                    <a:lnTo>
                      <a:pt x="35044" y="74529"/>
                    </a:lnTo>
                    <a:lnTo>
                      <a:pt x="36902" y="74260"/>
                    </a:lnTo>
                    <a:lnTo>
                      <a:pt x="37964" y="73991"/>
                    </a:lnTo>
                    <a:lnTo>
                      <a:pt x="39292" y="73991"/>
                    </a:lnTo>
                    <a:lnTo>
                      <a:pt x="40619" y="74529"/>
                    </a:lnTo>
                    <a:lnTo>
                      <a:pt x="42212" y="74798"/>
                    </a:lnTo>
                    <a:lnTo>
                      <a:pt x="43008" y="74798"/>
                    </a:lnTo>
                    <a:lnTo>
                      <a:pt x="45132" y="75067"/>
                    </a:lnTo>
                    <a:lnTo>
                      <a:pt x="45929" y="75605"/>
                    </a:lnTo>
                    <a:lnTo>
                      <a:pt x="46725" y="77219"/>
                    </a:lnTo>
                    <a:lnTo>
                      <a:pt x="47256" y="77219"/>
                    </a:lnTo>
                    <a:lnTo>
                      <a:pt x="48584" y="78565"/>
                    </a:lnTo>
                    <a:lnTo>
                      <a:pt x="49646" y="79103"/>
                    </a:lnTo>
                    <a:lnTo>
                      <a:pt x="50442" y="80717"/>
                    </a:lnTo>
                    <a:lnTo>
                      <a:pt x="52035" y="82869"/>
                    </a:lnTo>
                    <a:lnTo>
                      <a:pt x="53097" y="86098"/>
                    </a:lnTo>
                    <a:lnTo>
                      <a:pt x="53893" y="87174"/>
                    </a:lnTo>
                    <a:lnTo>
                      <a:pt x="54955" y="89327"/>
                    </a:lnTo>
                    <a:lnTo>
                      <a:pt x="54955" y="90134"/>
                    </a:lnTo>
                    <a:lnTo>
                      <a:pt x="55752" y="92286"/>
                    </a:lnTo>
                    <a:lnTo>
                      <a:pt x="57876" y="94170"/>
                    </a:lnTo>
                    <a:lnTo>
                      <a:pt x="58407" y="96322"/>
                    </a:lnTo>
                    <a:lnTo>
                      <a:pt x="61061" y="99551"/>
                    </a:lnTo>
                    <a:lnTo>
                      <a:pt x="62389" y="100089"/>
                    </a:lnTo>
                    <a:lnTo>
                      <a:pt x="62123" y="102511"/>
                    </a:lnTo>
                    <a:lnTo>
                      <a:pt x="61592" y="103049"/>
                    </a:lnTo>
                    <a:lnTo>
                      <a:pt x="62123" y="103587"/>
                    </a:lnTo>
                    <a:lnTo>
                      <a:pt x="62920" y="104394"/>
                    </a:lnTo>
                    <a:lnTo>
                      <a:pt x="62920" y="106008"/>
                    </a:lnTo>
                    <a:lnTo>
                      <a:pt x="64513" y="108968"/>
                    </a:lnTo>
                    <a:lnTo>
                      <a:pt x="65309" y="110582"/>
                    </a:lnTo>
                    <a:lnTo>
                      <a:pt x="66106" y="111928"/>
                    </a:lnTo>
                    <a:lnTo>
                      <a:pt x="66637" y="113273"/>
                    </a:lnTo>
                    <a:lnTo>
                      <a:pt x="68761" y="113542"/>
                    </a:lnTo>
                    <a:lnTo>
                      <a:pt x="70088" y="114887"/>
                    </a:lnTo>
                    <a:lnTo>
                      <a:pt x="72477" y="114887"/>
                    </a:lnTo>
                    <a:lnTo>
                      <a:pt x="74336" y="116771"/>
                    </a:lnTo>
                    <a:lnTo>
                      <a:pt x="75398" y="116771"/>
                    </a:lnTo>
                    <a:lnTo>
                      <a:pt x="75929" y="117578"/>
                    </a:lnTo>
                    <a:lnTo>
                      <a:pt x="77256" y="117847"/>
                    </a:lnTo>
                    <a:lnTo>
                      <a:pt x="77522" y="117309"/>
                    </a:lnTo>
                    <a:lnTo>
                      <a:pt x="80176" y="117847"/>
                    </a:lnTo>
                    <a:lnTo>
                      <a:pt x="80176" y="118116"/>
                    </a:lnTo>
                    <a:lnTo>
                      <a:pt x="80973" y="118923"/>
                    </a:lnTo>
                    <a:lnTo>
                      <a:pt x="82300" y="119999"/>
                    </a:lnTo>
                    <a:lnTo>
                      <a:pt x="83097" y="119461"/>
                    </a:lnTo>
                    <a:lnTo>
                      <a:pt x="83362" y="118923"/>
                    </a:lnTo>
                    <a:lnTo>
                      <a:pt x="85221" y="118654"/>
                    </a:lnTo>
                    <a:lnTo>
                      <a:pt x="84690" y="117309"/>
                    </a:lnTo>
                    <a:lnTo>
                      <a:pt x="84690" y="116502"/>
                    </a:lnTo>
                    <a:lnTo>
                      <a:pt x="84424" y="115426"/>
                    </a:lnTo>
                    <a:lnTo>
                      <a:pt x="84159" y="114349"/>
                    </a:lnTo>
                    <a:lnTo>
                      <a:pt x="83362" y="113811"/>
                    </a:lnTo>
                    <a:lnTo>
                      <a:pt x="82831" y="112197"/>
                    </a:lnTo>
                    <a:lnTo>
                      <a:pt x="82566" y="110582"/>
                    </a:lnTo>
                    <a:lnTo>
                      <a:pt x="81769" y="108699"/>
                    </a:lnTo>
                    <a:lnTo>
                      <a:pt x="81769" y="107085"/>
                    </a:lnTo>
                    <a:lnTo>
                      <a:pt x="82566" y="104663"/>
                    </a:lnTo>
                    <a:lnTo>
                      <a:pt x="83362" y="102242"/>
                    </a:lnTo>
                    <a:lnTo>
                      <a:pt x="84424" y="99551"/>
                    </a:lnTo>
                    <a:lnTo>
                      <a:pt x="84159" y="99013"/>
                    </a:lnTo>
                    <a:lnTo>
                      <a:pt x="83362" y="98475"/>
                    </a:lnTo>
                    <a:lnTo>
                      <a:pt x="82566" y="97668"/>
                    </a:lnTo>
                    <a:lnTo>
                      <a:pt x="82566" y="97130"/>
                    </a:lnTo>
                    <a:lnTo>
                      <a:pt x="83097" y="97399"/>
                    </a:lnTo>
                    <a:lnTo>
                      <a:pt x="85486" y="97130"/>
                    </a:lnTo>
                    <a:lnTo>
                      <a:pt x="85752" y="97130"/>
                    </a:lnTo>
                    <a:lnTo>
                      <a:pt x="86548" y="95515"/>
                    </a:lnTo>
                    <a:lnTo>
                      <a:pt x="85752" y="95515"/>
                    </a:lnTo>
                    <a:lnTo>
                      <a:pt x="85486" y="94977"/>
                    </a:lnTo>
                    <a:lnTo>
                      <a:pt x="85486" y="94439"/>
                    </a:lnTo>
                    <a:lnTo>
                      <a:pt x="86017" y="94170"/>
                    </a:lnTo>
                    <a:lnTo>
                      <a:pt x="87079" y="94170"/>
                    </a:lnTo>
                    <a:lnTo>
                      <a:pt x="88407" y="94170"/>
                    </a:lnTo>
                    <a:lnTo>
                      <a:pt x="88938" y="94439"/>
                    </a:lnTo>
                    <a:lnTo>
                      <a:pt x="89734" y="94170"/>
                    </a:lnTo>
                    <a:lnTo>
                      <a:pt x="91061" y="93094"/>
                    </a:lnTo>
                    <a:lnTo>
                      <a:pt x="90530" y="93094"/>
                    </a:lnTo>
                    <a:lnTo>
                      <a:pt x="89469" y="93901"/>
                    </a:lnTo>
                    <a:lnTo>
                      <a:pt x="89203" y="92825"/>
                    </a:lnTo>
                    <a:lnTo>
                      <a:pt x="89734" y="91210"/>
                    </a:lnTo>
                    <a:lnTo>
                      <a:pt x="90265" y="91748"/>
                    </a:lnTo>
                    <a:lnTo>
                      <a:pt x="90796" y="92017"/>
                    </a:lnTo>
                    <a:lnTo>
                      <a:pt x="92123" y="92017"/>
                    </a:lnTo>
                    <a:lnTo>
                      <a:pt x="92654" y="91479"/>
                    </a:lnTo>
                    <a:lnTo>
                      <a:pt x="92389" y="90403"/>
                    </a:lnTo>
                    <a:lnTo>
                      <a:pt x="91592" y="89327"/>
                    </a:lnTo>
                    <a:lnTo>
                      <a:pt x="91858" y="89058"/>
                    </a:lnTo>
                    <a:lnTo>
                      <a:pt x="92654" y="89058"/>
                    </a:lnTo>
                    <a:lnTo>
                      <a:pt x="93451" y="88520"/>
                    </a:lnTo>
                    <a:lnTo>
                      <a:pt x="93982" y="89058"/>
                    </a:lnTo>
                    <a:lnTo>
                      <a:pt x="94778" y="88520"/>
                    </a:lnTo>
                    <a:lnTo>
                      <a:pt x="95044" y="89058"/>
                    </a:lnTo>
                    <a:lnTo>
                      <a:pt x="95840" y="89596"/>
                    </a:lnTo>
                    <a:lnTo>
                      <a:pt x="96637" y="89058"/>
                    </a:lnTo>
                    <a:lnTo>
                      <a:pt x="97433" y="88520"/>
                    </a:lnTo>
                    <a:lnTo>
                      <a:pt x="99292" y="87982"/>
                    </a:lnTo>
                    <a:lnTo>
                      <a:pt x="101150" y="87713"/>
                    </a:lnTo>
                    <a:lnTo>
                      <a:pt x="104070" y="86098"/>
                    </a:lnTo>
                    <a:lnTo>
                      <a:pt x="104867" y="84484"/>
                    </a:lnTo>
                    <a:lnTo>
                      <a:pt x="105132" y="83139"/>
                    </a:lnTo>
                    <a:lnTo>
                      <a:pt x="105929" y="82600"/>
                    </a:lnTo>
                    <a:lnTo>
                      <a:pt x="106725" y="82331"/>
                    </a:lnTo>
                    <a:lnTo>
                      <a:pt x="106991" y="82062"/>
                    </a:lnTo>
                    <a:lnTo>
                      <a:pt x="107787" y="81524"/>
                    </a:lnTo>
                    <a:lnTo>
                      <a:pt x="107522" y="80717"/>
                    </a:lnTo>
                    <a:lnTo>
                      <a:pt x="107256" y="79910"/>
                    </a:lnTo>
                    <a:lnTo>
                      <a:pt x="106991" y="79641"/>
                    </a:lnTo>
                    <a:lnTo>
                      <a:pt x="106725" y="79103"/>
                    </a:lnTo>
                    <a:lnTo>
                      <a:pt x="106991" y="78295"/>
                    </a:lnTo>
                    <a:lnTo>
                      <a:pt x="108053" y="77488"/>
                    </a:lnTo>
                    <a:lnTo>
                      <a:pt x="108849" y="76950"/>
                    </a:lnTo>
                    <a:lnTo>
                      <a:pt x="109380" y="76950"/>
                    </a:lnTo>
                    <a:lnTo>
                      <a:pt x="109380" y="77757"/>
                    </a:lnTo>
                    <a:lnTo>
                      <a:pt x="109380" y="78834"/>
                    </a:lnTo>
                    <a:lnTo>
                      <a:pt x="109380" y="80448"/>
                    </a:lnTo>
                    <a:lnTo>
                      <a:pt x="109646" y="80717"/>
                    </a:lnTo>
                    <a:lnTo>
                      <a:pt x="111238" y="79372"/>
                    </a:lnTo>
                    <a:lnTo>
                      <a:pt x="112566" y="79103"/>
                    </a:lnTo>
                    <a:lnTo>
                      <a:pt x="116548" y="77488"/>
                    </a:lnTo>
                    <a:lnTo>
                      <a:pt x="117079" y="77219"/>
                    </a:lnTo>
                    <a:lnTo>
                      <a:pt x="117876" y="75874"/>
                    </a:lnTo>
                    <a:lnTo>
                      <a:pt x="118672" y="73183"/>
                    </a:lnTo>
                    <a:lnTo>
                      <a:pt x="118672" y="72107"/>
                    </a:lnTo>
                    <a:lnTo>
                      <a:pt x="117876" y="70224"/>
                    </a:lnTo>
                    <a:lnTo>
                      <a:pt x="118407" y="68878"/>
                    </a:lnTo>
                    <a:lnTo>
                      <a:pt x="118407" y="68071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53" name="Shape 1388">
                <a:extLst>
                  <a:ext uri="{FF2B5EF4-FFF2-40B4-BE49-F238E27FC236}">
                    <a16:creationId xmlns:a16="http://schemas.microsoft.com/office/drawing/2014/main" id="{FFE805A3-7239-4CF2-AF3B-02EB93A00121}"/>
                  </a:ext>
                </a:extLst>
              </p:cNvPr>
              <p:cNvSpPr/>
              <p:nvPr/>
            </p:nvSpPr>
            <p:spPr>
              <a:xfrm>
                <a:off x="5576510" y="3511043"/>
                <a:ext cx="894407" cy="1053964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33822" y="0"/>
                    </a:moveTo>
                    <a:cubicBezTo>
                      <a:pt x="33822" y="0"/>
                      <a:pt x="31969" y="7500"/>
                      <a:pt x="31505" y="9868"/>
                    </a:cubicBezTo>
                    <a:cubicBezTo>
                      <a:pt x="30579" y="11447"/>
                      <a:pt x="28725" y="16973"/>
                      <a:pt x="28725" y="16973"/>
                    </a:cubicBezTo>
                    <a:cubicBezTo>
                      <a:pt x="27335" y="17763"/>
                      <a:pt x="27335" y="17763"/>
                      <a:pt x="27335" y="17763"/>
                    </a:cubicBezTo>
                    <a:cubicBezTo>
                      <a:pt x="25945" y="16973"/>
                      <a:pt x="25945" y="16973"/>
                      <a:pt x="25945" y="16973"/>
                    </a:cubicBezTo>
                    <a:cubicBezTo>
                      <a:pt x="23629" y="15394"/>
                      <a:pt x="23629" y="15394"/>
                      <a:pt x="23629" y="15394"/>
                    </a:cubicBezTo>
                    <a:cubicBezTo>
                      <a:pt x="21776" y="16184"/>
                      <a:pt x="21776" y="16184"/>
                      <a:pt x="21776" y="16184"/>
                    </a:cubicBezTo>
                    <a:cubicBezTo>
                      <a:pt x="20849" y="14605"/>
                      <a:pt x="20849" y="14605"/>
                      <a:pt x="20849" y="14605"/>
                    </a:cubicBezTo>
                    <a:cubicBezTo>
                      <a:pt x="17606" y="15394"/>
                      <a:pt x="17606" y="15394"/>
                      <a:pt x="17606" y="15394"/>
                    </a:cubicBezTo>
                    <a:cubicBezTo>
                      <a:pt x="16216" y="16578"/>
                      <a:pt x="16216" y="16578"/>
                      <a:pt x="16216" y="16578"/>
                    </a:cubicBezTo>
                    <a:cubicBezTo>
                      <a:pt x="16216" y="20921"/>
                      <a:pt x="16216" y="20921"/>
                      <a:pt x="16216" y="20921"/>
                    </a:cubicBezTo>
                    <a:cubicBezTo>
                      <a:pt x="16216" y="26447"/>
                      <a:pt x="16216" y="26447"/>
                      <a:pt x="16216" y="26447"/>
                    </a:cubicBezTo>
                    <a:cubicBezTo>
                      <a:pt x="16216" y="31578"/>
                      <a:pt x="16216" y="31578"/>
                      <a:pt x="16216" y="31578"/>
                    </a:cubicBezTo>
                    <a:cubicBezTo>
                      <a:pt x="15752" y="33157"/>
                      <a:pt x="15752" y="33157"/>
                      <a:pt x="15752" y="33157"/>
                    </a:cubicBezTo>
                    <a:cubicBezTo>
                      <a:pt x="14362" y="35131"/>
                      <a:pt x="14362" y="35131"/>
                      <a:pt x="14362" y="35131"/>
                    </a:cubicBezTo>
                    <a:cubicBezTo>
                      <a:pt x="13899" y="37105"/>
                      <a:pt x="13899" y="37105"/>
                      <a:pt x="13899" y="37105"/>
                    </a:cubicBezTo>
                    <a:cubicBezTo>
                      <a:pt x="13899" y="39868"/>
                      <a:pt x="13899" y="39868"/>
                      <a:pt x="13899" y="39868"/>
                    </a:cubicBezTo>
                    <a:cubicBezTo>
                      <a:pt x="15752" y="43421"/>
                      <a:pt x="15752" y="43421"/>
                      <a:pt x="15752" y="43421"/>
                    </a:cubicBezTo>
                    <a:cubicBezTo>
                      <a:pt x="16216" y="46973"/>
                      <a:pt x="16216" y="46973"/>
                      <a:pt x="16216" y="46973"/>
                    </a:cubicBezTo>
                    <a:cubicBezTo>
                      <a:pt x="17142" y="48157"/>
                      <a:pt x="17142" y="48157"/>
                      <a:pt x="17142" y="48157"/>
                    </a:cubicBezTo>
                    <a:cubicBezTo>
                      <a:pt x="19459" y="50526"/>
                      <a:pt x="19459" y="50526"/>
                      <a:pt x="19459" y="50526"/>
                    </a:cubicBezTo>
                    <a:cubicBezTo>
                      <a:pt x="18069" y="51315"/>
                      <a:pt x="18069" y="51315"/>
                      <a:pt x="18069" y="51315"/>
                    </a:cubicBezTo>
                    <a:cubicBezTo>
                      <a:pt x="15752" y="52894"/>
                      <a:pt x="15752" y="52894"/>
                      <a:pt x="15752" y="52894"/>
                    </a:cubicBezTo>
                    <a:cubicBezTo>
                      <a:pt x="11119" y="55657"/>
                      <a:pt x="11119" y="55657"/>
                      <a:pt x="11119" y="55657"/>
                    </a:cubicBezTo>
                    <a:cubicBezTo>
                      <a:pt x="9729" y="60789"/>
                      <a:pt x="9729" y="60789"/>
                      <a:pt x="9729" y="60789"/>
                    </a:cubicBezTo>
                    <a:cubicBezTo>
                      <a:pt x="7876" y="63947"/>
                      <a:pt x="7876" y="63947"/>
                      <a:pt x="7876" y="63947"/>
                    </a:cubicBezTo>
                    <a:cubicBezTo>
                      <a:pt x="6023" y="65526"/>
                      <a:pt x="6023" y="65526"/>
                      <a:pt x="6023" y="65526"/>
                    </a:cubicBezTo>
                    <a:cubicBezTo>
                      <a:pt x="5096" y="65921"/>
                      <a:pt x="5096" y="65921"/>
                      <a:pt x="5096" y="65921"/>
                    </a:cubicBezTo>
                    <a:cubicBezTo>
                      <a:pt x="4169" y="67500"/>
                      <a:pt x="4169" y="67500"/>
                      <a:pt x="4169" y="67500"/>
                    </a:cubicBezTo>
                    <a:cubicBezTo>
                      <a:pt x="4633" y="70263"/>
                      <a:pt x="4633" y="70263"/>
                      <a:pt x="4633" y="70263"/>
                    </a:cubicBezTo>
                    <a:cubicBezTo>
                      <a:pt x="4169" y="72236"/>
                      <a:pt x="4169" y="72236"/>
                      <a:pt x="4169" y="72236"/>
                    </a:cubicBezTo>
                    <a:cubicBezTo>
                      <a:pt x="6949" y="74210"/>
                      <a:pt x="6949" y="74210"/>
                      <a:pt x="6949" y="74210"/>
                    </a:cubicBezTo>
                    <a:cubicBezTo>
                      <a:pt x="6023" y="75789"/>
                      <a:pt x="6023" y="75789"/>
                      <a:pt x="6023" y="75789"/>
                    </a:cubicBezTo>
                    <a:cubicBezTo>
                      <a:pt x="2316" y="77368"/>
                      <a:pt x="2316" y="77368"/>
                      <a:pt x="2316" y="77368"/>
                    </a:cubicBezTo>
                    <a:cubicBezTo>
                      <a:pt x="1389" y="78947"/>
                      <a:pt x="1389" y="78947"/>
                      <a:pt x="1389" y="78947"/>
                    </a:cubicBezTo>
                    <a:cubicBezTo>
                      <a:pt x="0" y="81315"/>
                      <a:pt x="0" y="81315"/>
                      <a:pt x="0" y="81315"/>
                    </a:cubicBezTo>
                    <a:cubicBezTo>
                      <a:pt x="64401" y="114868"/>
                      <a:pt x="64401" y="114868"/>
                      <a:pt x="64401" y="114868"/>
                    </a:cubicBezTo>
                    <a:cubicBezTo>
                      <a:pt x="84324" y="118026"/>
                      <a:pt x="84324" y="118026"/>
                      <a:pt x="84324" y="118026"/>
                    </a:cubicBezTo>
                    <a:cubicBezTo>
                      <a:pt x="101003" y="120000"/>
                      <a:pt x="101003" y="120000"/>
                      <a:pt x="101003" y="120000"/>
                    </a:cubicBezTo>
                    <a:cubicBezTo>
                      <a:pt x="101467" y="120000"/>
                      <a:pt x="101467" y="120000"/>
                      <a:pt x="101467" y="120000"/>
                    </a:cubicBezTo>
                    <a:cubicBezTo>
                      <a:pt x="120000" y="13026"/>
                      <a:pt x="120000" y="13026"/>
                      <a:pt x="120000" y="13026"/>
                    </a:cubicBezTo>
                    <a:lnTo>
                      <a:pt x="33822" y="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54" name="Shape 1389">
                <a:extLst>
                  <a:ext uri="{FF2B5EF4-FFF2-40B4-BE49-F238E27FC236}">
                    <a16:creationId xmlns:a16="http://schemas.microsoft.com/office/drawing/2014/main" id="{0E2EF4B0-F6E5-4B7C-97EF-8CFA445422B3}"/>
                  </a:ext>
                </a:extLst>
              </p:cNvPr>
              <p:cNvSpPr/>
              <p:nvPr/>
            </p:nvSpPr>
            <p:spPr>
              <a:xfrm>
                <a:off x="4669849" y="2375381"/>
                <a:ext cx="1049603" cy="1817882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08793" y="118921"/>
                    </a:moveTo>
                    <a:lnTo>
                      <a:pt x="109260" y="118112"/>
                    </a:lnTo>
                    <a:lnTo>
                      <a:pt x="106926" y="116764"/>
                    </a:lnTo>
                    <a:lnTo>
                      <a:pt x="107392" y="115685"/>
                    </a:lnTo>
                    <a:lnTo>
                      <a:pt x="106926" y="114067"/>
                    </a:lnTo>
                    <a:lnTo>
                      <a:pt x="107859" y="113258"/>
                    </a:lnTo>
                    <a:lnTo>
                      <a:pt x="108793" y="112988"/>
                    </a:lnTo>
                    <a:lnTo>
                      <a:pt x="110194" y="112179"/>
                    </a:lnTo>
                    <a:lnTo>
                      <a:pt x="111595" y="110292"/>
                    </a:lnTo>
                    <a:lnTo>
                      <a:pt x="112996" y="107325"/>
                    </a:lnTo>
                    <a:lnTo>
                      <a:pt x="116731" y="105707"/>
                    </a:lnTo>
                    <a:lnTo>
                      <a:pt x="119066" y="104629"/>
                    </a:lnTo>
                    <a:lnTo>
                      <a:pt x="120000" y="104359"/>
                    </a:lnTo>
                    <a:lnTo>
                      <a:pt x="118132" y="103011"/>
                    </a:lnTo>
                    <a:lnTo>
                      <a:pt x="117198" y="102202"/>
                    </a:lnTo>
                    <a:lnTo>
                      <a:pt x="116731" y="100314"/>
                    </a:lnTo>
                    <a:lnTo>
                      <a:pt x="115330" y="98157"/>
                    </a:lnTo>
                    <a:lnTo>
                      <a:pt x="115330" y="96539"/>
                    </a:lnTo>
                    <a:lnTo>
                      <a:pt x="115797" y="95460"/>
                    </a:lnTo>
                    <a:lnTo>
                      <a:pt x="115797" y="95191"/>
                    </a:lnTo>
                    <a:lnTo>
                      <a:pt x="55097" y="42606"/>
                    </a:lnTo>
                    <a:lnTo>
                      <a:pt x="53696" y="42067"/>
                    </a:lnTo>
                    <a:lnTo>
                      <a:pt x="53229" y="41797"/>
                    </a:lnTo>
                    <a:lnTo>
                      <a:pt x="52762" y="41258"/>
                    </a:lnTo>
                    <a:lnTo>
                      <a:pt x="52295" y="40449"/>
                    </a:lnTo>
                    <a:lnTo>
                      <a:pt x="52762" y="39640"/>
                    </a:lnTo>
                    <a:lnTo>
                      <a:pt x="54630" y="39370"/>
                    </a:lnTo>
                    <a:lnTo>
                      <a:pt x="55564" y="39101"/>
                    </a:lnTo>
                    <a:lnTo>
                      <a:pt x="69105" y="9438"/>
                    </a:lnTo>
                    <a:lnTo>
                      <a:pt x="12140" y="0"/>
                    </a:lnTo>
                    <a:lnTo>
                      <a:pt x="11673" y="1078"/>
                    </a:lnTo>
                    <a:lnTo>
                      <a:pt x="10739" y="1348"/>
                    </a:lnTo>
                    <a:lnTo>
                      <a:pt x="10739" y="2426"/>
                    </a:lnTo>
                    <a:lnTo>
                      <a:pt x="10739" y="3235"/>
                    </a:lnTo>
                    <a:lnTo>
                      <a:pt x="10739" y="5662"/>
                    </a:lnTo>
                    <a:lnTo>
                      <a:pt x="10272" y="6741"/>
                    </a:lnTo>
                    <a:lnTo>
                      <a:pt x="8871" y="8089"/>
                    </a:lnTo>
                    <a:lnTo>
                      <a:pt x="7937" y="8898"/>
                    </a:lnTo>
                    <a:lnTo>
                      <a:pt x="7937" y="9168"/>
                    </a:lnTo>
                    <a:lnTo>
                      <a:pt x="7937" y="10786"/>
                    </a:lnTo>
                    <a:lnTo>
                      <a:pt x="6070" y="12134"/>
                    </a:lnTo>
                    <a:lnTo>
                      <a:pt x="3268" y="13483"/>
                    </a:lnTo>
                    <a:lnTo>
                      <a:pt x="933" y="14831"/>
                    </a:lnTo>
                    <a:lnTo>
                      <a:pt x="466" y="15370"/>
                    </a:lnTo>
                    <a:lnTo>
                      <a:pt x="0" y="16719"/>
                    </a:lnTo>
                    <a:lnTo>
                      <a:pt x="0" y="17797"/>
                    </a:lnTo>
                    <a:lnTo>
                      <a:pt x="466" y="19146"/>
                    </a:lnTo>
                    <a:lnTo>
                      <a:pt x="1400" y="20224"/>
                    </a:lnTo>
                    <a:lnTo>
                      <a:pt x="3268" y="21842"/>
                    </a:lnTo>
                    <a:lnTo>
                      <a:pt x="3735" y="22921"/>
                    </a:lnTo>
                    <a:lnTo>
                      <a:pt x="4202" y="24269"/>
                    </a:lnTo>
                    <a:lnTo>
                      <a:pt x="4202" y="26426"/>
                    </a:lnTo>
                    <a:lnTo>
                      <a:pt x="2801" y="28044"/>
                    </a:lnTo>
                    <a:lnTo>
                      <a:pt x="2334" y="29662"/>
                    </a:lnTo>
                    <a:lnTo>
                      <a:pt x="2334" y="31550"/>
                    </a:lnTo>
                    <a:lnTo>
                      <a:pt x="1867" y="32359"/>
                    </a:lnTo>
                    <a:lnTo>
                      <a:pt x="933" y="32898"/>
                    </a:lnTo>
                    <a:lnTo>
                      <a:pt x="1400" y="33977"/>
                    </a:lnTo>
                    <a:lnTo>
                      <a:pt x="3268" y="35865"/>
                    </a:lnTo>
                    <a:lnTo>
                      <a:pt x="5136" y="39101"/>
                    </a:lnTo>
                    <a:lnTo>
                      <a:pt x="7003" y="41258"/>
                    </a:lnTo>
                    <a:lnTo>
                      <a:pt x="7937" y="42067"/>
                    </a:lnTo>
                    <a:lnTo>
                      <a:pt x="7937" y="43415"/>
                    </a:lnTo>
                    <a:lnTo>
                      <a:pt x="7470" y="44224"/>
                    </a:lnTo>
                    <a:lnTo>
                      <a:pt x="6536" y="44764"/>
                    </a:lnTo>
                    <a:lnTo>
                      <a:pt x="6536" y="45573"/>
                    </a:lnTo>
                    <a:lnTo>
                      <a:pt x="8404" y="45573"/>
                    </a:lnTo>
                    <a:lnTo>
                      <a:pt x="9338" y="46382"/>
                    </a:lnTo>
                    <a:lnTo>
                      <a:pt x="10739" y="47460"/>
                    </a:lnTo>
                    <a:lnTo>
                      <a:pt x="11206" y="48000"/>
                    </a:lnTo>
                    <a:lnTo>
                      <a:pt x="12607" y="48269"/>
                    </a:lnTo>
                    <a:lnTo>
                      <a:pt x="13540" y="47191"/>
                    </a:lnTo>
                    <a:lnTo>
                      <a:pt x="13540" y="45842"/>
                    </a:lnTo>
                    <a:lnTo>
                      <a:pt x="15875" y="45573"/>
                    </a:lnTo>
                    <a:lnTo>
                      <a:pt x="17276" y="46382"/>
                    </a:lnTo>
                    <a:lnTo>
                      <a:pt x="20544" y="46382"/>
                    </a:lnTo>
                    <a:lnTo>
                      <a:pt x="22412" y="47460"/>
                    </a:lnTo>
                    <a:lnTo>
                      <a:pt x="23813" y="47730"/>
                    </a:lnTo>
                    <a:lnTo>
                      <a:pt x="24747" y="48000"/>
                    </a:lnTo>
                    <a:lnTo>
                      <a:pt x="23813" y="48539"/>
                    </a:lnTo>
                    <a:lnTo>
                      <a:pt x="22879" y="48269"/>
                    </a:lnTo>
                    <a:lnTo>
                      <a:pt x="21011" y="47730"/>
                    </a:lnTo>
                    <a:lnTo>
                      <a:pt x="20544" y="47730"/>
                    </a:lnTo>
                    <a:lnTo>
                      <a:pt x="18677" y="47460"/>
                    </a:lnTo>
                    <a:lnTo>
                      <a:pt x="17743" y="47191"/>
                    </a:lnTo>
                    <a:lnTo>
                      <a:pt x="16342" y="46921"/>
                    </a:lnTo>
                    <a:lnTo>
                      <a:pt x="15408" y="47191"/>
                    </a:lnTo>
                    <a:lnTo>
                      <a:pt x="15408" y="47730"/>
                    </a:lnTo>
                    <a:lnTo>
                      <a:pt x="15408" y="49617"/>
                    </a:lnTo>
                    <a:lnTo>
                      <a:pt x="16342" y="50426"/>
                    </a:lnTo>
                    <a:lnTo>
                      <a:pt x="15875" y="52314"/>
                    </a:lnTo>
                    <a:lnTo>
                      <a:pt x="15408" y="52314"/>
                    </a:lnTo>
                    <a:lnTo>
                      <a:pt x="14007" y="51775"/>
                    </a:lnTo>
                    <a:lnTo>
                      <a:pt x="13540" y="51235"/>
                    </a:lnTo>
                    <a:lnTo>
                      <a:pt x="13540" y="50157"/>
                    </a:lnTo>
                    <a:lnTo>
                      <a:pt x="13540" y="49887"/>
                    </a:lnTo>
                    <a:lnTo>
                      <a:pt x="13073" y="49617"/>
                    </a:lnTo>
                    <a:lnTo>
                      <a:pt x="11673" y="49348"/>
                    </a:lnTo>
                    <a:lnTo>
                      <a:pt x="11206" y="50426"/>
                    </a:lnTo>
                    <a:lnTo>
                      <a:pt x="10739" y="50966"/>
                    </a:lnTo>
                    <a:lnTo>
                      <a:pt x="10739" y="52584"/>
                    </a:lnTo>
                    <a:lnTo>
                      <a:pt x="10739" y="55011"/>
                    </a:lnTo>
                    <a:lnTo>
                      <a:pt x="10739" y="56359"/>
                    </a:lnTo>
                    <a:lnTo>
                      <a:pt x="12140" y="57707"/>
                    </a:lnTo>
                    <a:lnTo>
                      <a:pt x="14007" y="58516"/>
                    </a:lnTo>
                    <a:lnTo>
                      <a:pt x="15875" y="59325"/>
                    </a:lnTo>
                    <a:lnTo>
                      <a:pt x="16342" y="60674"/>
                    </a:lnTo>
                    <a:lnTo>
                      <a:pt x="16342" y="61752"/>
                    </a:lnTo>
                    <a:lnTo>
                      <a:pt x="15875" y="62831"/>
                    </a:lnTo>
                    <a:lnTo>
                      <a:pt x="14474" y="63101"/>
                    </a:lnTo>
                    <a:lnTo>
                      <a:pt x="13073" y="63101"/>
                    </a:lnTo>
                    <a:lnTo>
                      <a:pt x="13073" y="65797"/>
                    </a:lnTo>
                    <a:lnTo>
                      <a:pt x="13540" y="66606"/>
                    </a:lnTo>
                    <a:lnTo>
                      <a:pt x="15875" y="68764"/>
                    </a:lnTo>
                    <a:lnTo>
                      <a:pt x="16342" y="70382"/>
                    </a:lnTo>
                    <a:lnTo>
                      <a:pt x="18677" y="72269"/>
                    </a:lnTo>
                    <a:lnTo>
                      <a:pt x="19610" y="74157"/>
                    </a:lnTo>
                    <a:lnTo>
                      <a:pt x="21011" y="75505"/>
                    </a:lnTo>
                    <a:lnTo>
                      <a:pt x="22412" y="77393"/>
                    </a:lnTo>
                    <a:lnTo>
                      <a:pt x="23346" y="77662"/>
                    </a:lnTo>
                    <a:lnTo>
                      <a:pt x="23346" y="79011"/>
                    </a:lnTo>
                    <a:lnTo>
                      <a:pt x="23346" y="79820"/>
                    </a:lnTo>
                    <a:lnTo>
                      <a:pt x="23346" y="80359"/>
                    </a:lnTo>
                    <a:lnTo>
                      <a:pt x="24280" y="80898"/>
                    </a:lnTo>
                    <a:lnTo>
                      <a:pt x="24747" y="81707"/>
                    </a:lnTo>
                    <a:lnTo>
                      <a:pt x="24747" y="82786"/>
                    </a:lnTo>
                    <a:lnTo>
                      <a:pt x="24280" y="85213"/>
                    </a:lnTo>
                    <a:lnTo>
                      <a:pt x="23813" y="86831"/>
                    </a:lnTo>
                    <a:lnTo>
                      <a:pt x="23346" y="88179"/>
                    </a:lnTo>
                    <a:lnTo>
                      <a:pt x="27548" y="89528"/>
                    </a:lnTo>
                    <a:lnTo>
                      <a:pt x="31284" y="90337"/>
                    </a:lnTo>
                    <a:lnTo>
                      <a:pt x="34085" y="91415"/>
                    </a:lnTo>
                    <a:lnTo>
                      <a:pt x="38287" y="92224"/>
                    </a:lnTo>
                    <a:lnTo>
                      <a:pt x="39688" y="93033"/>
                    </a:lnTo>
                    <a:lnTo>
                      <a:pt x="42490" y="95730"/>
                    </a:lnTo>
                    <a:lnTo>
                      <a:pt x="46225" y="97617"/>
                    </a:lnTo>
                    <a:lnTo>
                      <a:pt x="51828" y="98426"/>
                    </a:lnTo>
                    <a:lnTo>
                      <a:pt x="52295" y="100853"/>
                    </a:lnTo>
                    <a:lnTo>
                      <a:pt x="53229" y="101932"/>
                    </a:lnTo>
                    <a:lnTo>
                      <a:pt x="56498" y="102471"/>
                    </a:lnTo>
                    <a:lnTo>
                      <a:pt x="59766" y="104629"/>
                    </a:lnTo>
                    <a:lnTo>
                      <a:pt x="63501" y="107865"/>
                    </a:lnTo>
                    <a:lnTo>
                      <a:pt x="65369" y="109213"/>
                    </a:lnTo>
                    <a:lnTo>
                      <a:pt x="66770" y="111640"/>
                    </a:lnTo>
                    <a:lnTo>
                      <a:pt x="65369" y="113797"/>
                    </a:lnTo>
                    <a:lnTo>
                      <a:pt x="65369" y="115146"/>
                    </a:lnTo>
                    <a:lnTo>
                      <a:pt x="66770" y="117033"/>
                    </a:lnTo>
                    <a:lnTo>
                      <a:pt x="68638" y="117303"/>
                    </a:lnTo>
                    <a:lnTo>
                      <a:pt x="105058" y="120000"/>
                    </a:lnTo>
                    <a:lnTo>
                      <a:pt x="105525" y="119730"/>
                    </a:lnTo>
                    <a:lnTo>
                      <a:pt x="108793" y="118921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55" name="Shape 1390">
                <a:extLst>
                  <a:ext uri="{FF2B5EF4-FFF2-40B4-BE49-F238E27FC236}">
                    <a16:creationId xmlns:a16="http://schemas.microsoft.com/office/drawing/2014/main" id="{2F3BB2D0-78D3-4B4D-B4A4-1628D9DEDF2C}"/>
                  </a:ext>
                </a:extLst>
              </p:cNvPr>
              <p:cNvSpPr/>
              <p:nvPr/>
            </p:nvSpPr>
            <p:spPr>
              <a:xfrm>
                <a:off x="7246898" y="3719390"/>
                <a:ext cx="1147624" cy="616855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0" y="16853"/>
                    </a:moveTo>
                    <a:cubicBezTo>
                      <a:pt x="0" y="18876"/>
                      <a:pt x="0" y="18876"/>
                      <a:pt x="0" y="18876"/>
                    </a:cubicBezTo>
                    <a:cubicBezTo>
                      <a:pt x="0" y="16853"/>
                      <a:pt x="0" y="16853"/>
                      <a:pt x="0" y="16853"/>
                    </a:cubicBezTo>
                    <a:cubicBezTo>
                      <a:pt x="42650" y="21573"/>
                      <a:pt x="42650" y="21573"/>
                      <a:pt x="42650" y="21573"/>
                    </a:cubicBezTo>
                    <a:cubicBezTo>
                      <a:pt x="40843" y="82921"/>
                      <a:pt x="40843" y="82921"/>
                      <a:pt x="40843" y="82921"/>
                    </a:cubicBezTo>
                    <a:cubicBezTo>
                      <a:pt x="43734" y="88314"/>
                      <a:pt x="43734" y="88314"/>
                      <a:pt x="43734" y="88314"/>
                    </a:cubicBezTo>
                    <a:cubicBezTo>
                      <a:pt x="44819" y="90337"/>
                      <a:pt x="44819" y="90337"/>
                      <a:pt x="44819" y="90337"/>
                    </a:cubicBezTo>
                    <a:cubicBezTo>
                      <a:pt x="45903" y="90337"/>
                      <a:pt x="45903" y="90337"/>
                      <a:pt x="45903" y="90337"/>
                    </a:cubicBezTo>
                    <a:cubicBezTo>
                      <a:pt x="47349" y="89662"/>
                      <a:pt x="47349" y="89662"/>
                      <a:pt x="47349" y="89662"/>
                    </a:cubicBezTo>
                    <a:cubicBezTo>
                      <a:pt x="48433" y="90337"/>
                      <a:pt x="48433" y="90337"/>
                      <a:pt x="48433" y="90337"/>
                    </a:cubicBezTo>
                    <a:cubicBezTo>
                      <a:pt x="49518" y="89662"/>
                      <a:pt x="49518" y="89662"/>
                      <a:pt x="49518" y="89662"/>
                    </a:cubicBezTo>
                    <a:cubicBezTo>
                      <a:pt x="50963" y="91011"/>
                      <a:pt x="50963" y="91011"/>
                      <a:pt x="50963" y="91011"/>
                    </a:cubicBezTo>
                    <a:cubicBezTo>
                      <a:pt x="52048" y="97078"/>
                      <a:pt x="52048" y="97078"/>
                      <a:pt x="52048" y="97078"/>
                    </a:cubicBezTo>
                    <a:cubicBezTo>
                      <a:pt x="55301" y="97078"/>
                      <a:pt x="55301" y="97078"/>
                      <a:pt x="55301" y="97078"/>
                    </a:cubicBezTo>
                    <a:cubicBezTo>
                      <a:pt x="57831" y="99775"/>
                      <a:pt x="57831" y="99775"/>
                      <a:pt x="57831" y="99775"/>
                    </a:cubicBezTo>
                    <a:cubicBezTo>
                      <a:pt x="59999" y="99101"/>
                      <a:pt x="59999" y="99101"/>
                      <a:pt x="59999" y="99101"/>
                    </a:cubicBezTo>
                    <a:cubicBezTo>
                      <a:pt x="60361" y="99101"/>
                      <a:pt x="60361" y="99101"/>
                      <a:pt x="60361" y="99101"/>
                    </a:cubicBezTo>
                    <a:cubicBezTo>
                      <a:pt x="61807" y="101797"/>
                      <a:pt x="61807" y="101797"/>
                      <a:pt x="61807" y="101797"/>
                    </a:cubicBezTo>
                    <a:cubicBezTo>
                      <a:pt x="63253" y="99775"/>
                      <a:pt x="63253" y="99775"/>
                      <a:pt x="63253" y="99775"/>
                    </a:cubicBezTo>
                    <a:cubicBezTo>
                      <a:pt x="66506" y="100449"/>
                      <a:pt x="66506" y="100449"/>
                      <a:pt x="66506" y="100449"/>
                    </a:cubicBezTo>
                    <a:cubicBezTo>
                      <a:pt x="67951" y="105168"/>
                      <a:pt x="67951" y="105168"/>
                      <a:pt x="67951" y="105168"/>
                    </a:cubicBezTo>
                    <a:cubicBezTo>
                      <a:pt x="69036" y="105168"/>
                      <a:pt x="69036" y="105168"/>
                      <a:pt x="69036" y="105168"/>
                    </a:cubicBezTo>
                    <a:cubicBezTo>
                      <a:pt x="69397" y="109213"/>
                      <a:pt x="69397" y="109213"/>
                      <a:pt x="69397" y="109213"/>
                    </a:cubicBezTo>
                    <a:cubicBezTo>
                      <a:pt x="70843" y="109887"/>
                      <a:pt x="70843" y="109887"/>
                      <a:pt x="70843" y="109887"/>
                    </a:cubicBezTo>
                    <a:cubicBezTo>
                      <a:pt x="72289" y="107865"/>
                      <a:pt x="72289" y="107865"/>
                      <a:pt x="72289" y="107865"/>
                    </a:cubicBezTo>
                    <a:cubicBezTo>
                      <a:pt x="73012" y="105842"/>
                      <a:pt x="73012" y="105842"/>
                      <a:pt x="73012" y="105842"/>
                    </a:cubicBezTo>
                    <a:cubicBezTo>
                      <a:pt x="73734" y="105842"/>
                      <a:pt x="73734" y="105842"/>
                      <a:pt x="73734" y="105842"/>
                    </a:cubicBezTo>
                    <a:cubicBezTo>
                      <a:pt x="76265" y="109213"/>
                      <a:pt x="76265" y="109213"/>
                      <a:pt x="76265" y="109213"/>
                    </a:cubicBezTo>
                    <a:cubicBezTo>
                      <a:pt x="76987" y="111910"/>
                      <a:pt x="76987" y="111910"/>
                      <a:pt x="76987" y="111910"/>
                    </a:cubicBezTo>
                    <a:cubicBezTo>
                      <a:pt x="79518" y="109213"/>
                      <a:pt x="79518" y="109213"/>
                      <a:pt x="79518" y="109213"/>
                    </a:cubicBezTo>
                    <a:cubicBezTo>
                      <a:pt x="80240" y="110561"/>
                      <a:pt x="80240" y="110561"/>
                      <a:pt x="80240" y="110561"/>
                    </a:cubicBezTo>
                    <a:cubicBezTo>
                      <a:pt x="80602" y="114606"/>
                      <a:pt x="80602" y="114606"/>
                      <a:pt x="80602" y="114606"/>
                    </a:cubicBezTo>
                    <a:cubicBezTo>
                      <a:pt x="81325" y="113932"/>
                      <a:pt x="81325" y="113932"/>
                      <a:pt x="81325" y="113932"/>
                    </a:cubicBezTo>
                    <a:cubicBezTo>
                      <a:pt x="82409" y="110561"/>
                      <a:pt x="82409" y="110561"/>
                      <a:pt x="82409" y="110561"/>
                    </a:cubicBezTo>
                    <a:cubicBezTo>
                      <a:pt x="84216" y="109887"/>
                      <a:pt x="84216" y="109887"/>
                      <a:pt x="84216" y="109887"/>
                    </a:cubicBezTo>
                    <a:cubicBezTo>
                      <a:pt x="86385" y="111910"/>
                      <a:pt x="86385" y="111910"/>
                      <a:pt x="86385" y="111910"/>
                    </a:cubicBezTo>
                    <a:cubicBezTo>
                      <a:pt x="89638" y="111235"/>
                      <a:pt x="89638" y="111235"/>
                      <a:pt x="89638" y="111235"/>
                    </a:cubicBezTo>
                    <a:cubicBezTo>
                      <a:pt x="91084" y="113932"/>
                      <a:pt x="91084" y="113932"/>
                      <a:pt x="91084" y="113932"/>
                    </a:cubicBezTo>
                    <a:cubicBezTo>
                      <a:pt x="91807" y="115955"/>
                      <a:pt x="91807" y="115955"/>
                      <a:pt x="91807" y="115955"/>
                    </a:cubicBezTo>
                    <a:cubicBezTo>
                      <a:pt x="93614" y="115280"/>
                      <a:pt x="93614" y="115280"/>
                      <a:pt x="93614" y="115280"/>
                    </a:cubicBezTo>
                    <a:cubicBezTo>
                      <a:pt x="95421" y="112584"/>
                      <a:pt x="95421" y="112584"/>
                      <a:pt x="95421" y="112584"/>
                    </a:cubicBezTo>
                    <a:cubicBezTo>
                      <a:pt x="96506" y="110561"/>
                      <a:pt x="96506" y="110561"/>
                      <a:pt x="96506" y="110561"/>
                    </a:cubicBezTo>
                    <a:cubicBezTo>
                      <a:pt x="97951" y="110561"/>
                      <a:pt x="97951" y="110561"/>
                      <a:pt x="97951" y="110561"/>
                    </a:cubicBezTo>
                    <a:cubicBezTo>
                      <a:pt x="99397" y="111910"/>
                      <a:pt x="99397" y="111910"/>
                      <a:pt x="99397" y="111910"/>
                    </a:cubicBezTo>
                    <a:cubicBezTo>
                      <a:pt x="100481" y="111235"/>
                      <a:pt x="100481" y="111235"/>
                      <a:pt x="100481" y="111235"/>
                    </a:cubicBezTo>
                    <a:cubicBezTo>
                      <a:pt x="101927" y="109213"/>
                      <a:pt x="101927" y="109213"/>
                      <a:pt x="101927" y="109213"/>
                    </a:cubicBezTo>
                    <a:cubicBezTo>
                      <a:pt x="104096" y="109887"/>
                      <a:pt x="104096" y="109887"/>
                      <a:pt x="104096" y="109887"/>
                    </a:cubicBezTo>
                    <a:cubicBezTo>
                      <a:pt x="105180" y="110561"/>
                      <a:pt x="105180" y="110561"/>
                      <a:pt x="105180" y="110561"/>
                    </a:cubicBezTo>
                    <a:cubicBezTo>
                      <a:pt x="108433" y="108539"/>
                      <a:pt x="108433" y="108539"/>
                      <a:pt x="108433" y="108539"/>
                    </a:cubicBezTo>
                    <a:cubicBezTo>
                      <a:pt x="110602" y="109887"/>
                      <a:pt x="110602" y="109887"/>
                      <a:pt x="110602" y="109887"/>
                    </a:cubicBezTo>
                    <a:cubicBezTo>
                      <a:pt x="112409" y="113258"/>
                      <a:pt x="112409" y="113258"/>
                      <a:pt x="112409" y="113258"/>
                    </a:cubicBezTo>
                    <a:cubicBezTo>
                      <a:pt x="114939" y="116629"/>
                      <a:pt x="114939" y="116629"/>
                      <a:pt x="114939" y="116629"/>
                    </a:cubicBezTo>
                    <a:cubicBezTo>
                      <a:pt x="117108" y="116629"/>
                      <a:pt x="117108" y="116629"/>
                      <a:pt x="117108" y="116629"/>
                    </a:cubicBezTo>
                    <a:cubicBezTo>
                      <a:pt x="118554" y="118651"/>
                      <a:pt x="118554" y="118651"/>
                      <a:pt x="118554" y="118651"/>
                    </a:cubicBezTo>
                    <a:cubicBezTo>
                      <a:pt x="119638" y="120000"/>
                      <a:pt x="119638" y="120000"/>
                      <a:pt x="119638" y="120000"/>
                    </a:cubicBezTo>
                    <a:cubicBezTo>
                      <a:pt x="119999" y="59325"/>
                      <a:pt x="119999" y="59325"/>
                      <a:pt x="119999" y="59325"/>
                    </a:cubicBezTo>
                    <a:cubicBezTo>
                      <a:pt x="117108" y="24943"/>
                      <a:pt x="117108" y="24943"/>
                      <a:pt x="117108" y="24943"/>
                    </a:cubicBezTo>
                    <a:cubicBezTo>
                      <a:pt x="117108" y="8089"/>
                      <a:pt x="117108" y="8089"/>
                      <a:pt x="117108" y="8089"/>
                    </a:cubicBezTo>
                    <a:cubicBezTo>
                      <a:pt x="117108" y="8089"/>
                      <a:pt x="76265" y="6741"/>
                      <a:pt x="63253" y="6067"/>
                    </a:cubicBezTo>
                    <a:cubicBezTo>
                      <a:pt x="47349" y="4719"/>
                      <a:pt x="1445" y="0"/>
                      <a:pt x="1445" y="0"/>
                    </a:cubicBezTo>
                    <a:cubicBezTo>
                      <a:pt x="1084" y="16853"/>
                      <a:pt x="1084" y="16853"/>
                      <a:pt x="1084" y="16853"/>
                    </a:cubicBezTo>
                    <a:lnTo>
                      <a:pt x="0" y="16853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56" name="Shape 1391">
                <a:extLst>
                  <a:ext uri="{FF2B5EF4-FFF2-40B4-BE49-F238E27FC236}">
                    <a16:creationId xmlns:a16="http://schemas.microsoft.com/office/drawing/2014/main" id="{A62A983F-149E-4E94-A93D-A5F97B1DCC4F}"/>
                  </a:ext>
                </a:extLst>
              </p:cNvPr>
              <p:cNvSpPr/>
              <p:nvPr/>
            </p:nvSpPr>
            <p:spPr>
              <a:xfrm>
                <a:off x="7393925" y="3221002"/>
                <a:ext cx="972006" cy="539239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20000" y="120000"/>
                    </a:moveTo>
                    <a:cubicBezTo>
                      <a:pt x="120000" y="40000"/>
                      <a:pt x="120000" y="40000"/>
                      <a:pt x="120000" y="40000"/>
                    </a:cubicBezTo>
                    <a:cubicBezTo>
                      <a:pt x="117446" y="37692"/>
                      <a:pt x="117446" y="37692"/>
                      <a:pt x="117446" y="37692"/>
                    </a:cubicBezTo>
                    <a:cubicBezTo>
                      <a:pt x="116170" y="36153"/>
                      <a:pt x="116170" y="36153"/>
                      <a:pt x="116170" y="36153"/>
                    </a:cubicBezTo>
                    <a:cubicBezTo>
                      <a:pt x="115319" y="31538"/>
                      <a:pt x="115319" y="31538"/>
                      <a:pt x="115319" y="31538"/>
                    </a:cubicBezTo>
                    <a:cubicBezTo>
                      <a:pt x="112765" y="26923"/>
                      <a:pt x="112765" y="26923"/>
                      <a:pt x="112765" y="26923"/>
                    </a:cubicBezTo>
                    <a:cubicBezTo>
                      <a:pt x="114042" y="23076"/>
                      <a:pt x="114042" y="23076"/>
                      <a:pt x="114042" y="23076"/>
                    </a:cubicBezTo>
                    <a:cubicBezTo>
                      <a:pt x="115319" y="18461"/>
                      <a:pt x="115319" y="18461"/>
                      <a:pt x="115319" y="18461"/>
                    </a:cubicBezTo>
                    <a:cubicBezTo>
                      <a:pt x="115319" y="14615"/>
                      <a:pt x="115319" y="14615"/>
                      <a:pt x="115319" y="14615"/>
                    </a:cubicBezTo>
                    <a:cubicBezTo>
                      <a:pt x="114468" y="14615"/>
                      <a:pt x="114468" y="14615"/>
                      <a:pt x="114468" y="14615"/>
                    </a:cubicBezTo>
                    <a:cubicBezTo>
                      <a:pt x="110638" y="14615"/>
                      <a:pt x="110638" y="14615"/>
                      <a:pt x="110638" y="14615"/>
                    </a:cubicBezTo>
                    <a:cubicBezTo>
                      <a:pt x="109787" y="11538"/>
                      <a:pt x="109787" y="11538"/>
                      <a:pt x="109787" y="11538"/>
                    </a:cubicBezTo>
                    <a:cubicBezTo>
                      <a:pt x="108085" y="6923"/>
                      <a:pt x="108085" y="6923"/>
                      <a:pt x="108085" y="6923"/>
                    </a:cubicBezTo>
                    <a:cubicBezTo>
                      <a:pt x="108085" y="6923"/>
                      <a:pt x="79574" y="5384"/>
                      <a:pt x="70212" y="4615"/>
                    </a:cubicBezTo>
                    <a:cubicBezTo>
                      <a:pt x="53617" y="3846"/>
                      <a:pt x="4255" y="0"/>
                      <a:pt x="4255" y="0"/>
                    </a:cubicBezTo>
                    <a:cubicBezTo>
                      <a:pt x="0" y="112307"/>
                      <a:pt x="0" y="112307"/>
                      <a:pt x="0" y="112307"/>
                    </a:cubicBezTo>
                    <a:cubicBezTo>
                      <a:pt x="17446" y="113846"/>
                      <a:pt x="44255" y="116153"/>
                      <a:pt x="56595" y="117692"/>
                    </a:cubicBezTo>
                    <a:cubicBezTo>
                      <a:pt x="71914" y="118461"/>
                      <a:pt x="120000" y="120000"/>
                      <a:pt x="120000" y="120000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57" name="Shape 1392">
                <a:extLst>
                  <a:ext uri="{FF2B5EF4-FFF2-40B4-BE49-F238E27FC236}">
                    <a16:creationId xmlns:a16="http://schemas.microsoft.com/office/drawing/2014/main" id="{2C5A8582-F1A7-4D93-97FA-44D93C67C13B}"/>
                  </a:ext>
                </a:extLst>
              </p:cNvPr>
              <p:cNvSpPr/>
              <p:nvPr/>
            </p:nvSpPr>
            <p:spPr>
              <a:xfrm>
                <a:off x="7189724" y="2706274"/>
                <a:ext cx="1082276" cy="547407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20000" y="120000"/>
                    </a:moveTo>
                    <a:cubicBezTo>
                      <a:pt x="120000" y="120000"/>
                      <a:pt x="120000" y="120000"/>
                      <a:pt x="120000" y="120000"/>
                    </a:cubicBezTo>
                    <a:cubicBezTo>
                      <a:pt x="120000" y="120000"/>
                      <a:pt x="120000" y="120000"/>
                      <a:pt x="120000" y="120000"/>
                    </a:cubicBezTo>
                    <a:cubicBezTo>
                      <a:pt x="119233" y="116962"/>
                      <a:pt x="119233" y="116962"/>
                      <a:pt x="119233" y="116962"/>
                    </a:cubicBezTo>
                    <a:cubicBezTo>
                      <a:pt x="118849" y="112405"/>
                      <a:pt x="118849" y="112405"/>
                      <a:pt x="118849" y="112405"/>
                    </a:cubicBezTo>
                    <a:cubicBezTo>
                      <a:pt x="118849" y="112405"/>
                      <a:pt x="116932" y="111645"/>
                      <a:pt x="116549" y="110886"/>
                    </a:cubicBezTo>
                    <a:cubicBezTo>
                      <a:pt x="116166" y="110126"/>
                      <a:pt x="116549" y="110126"/>
                      <a:pt x="116549" y="110126"/>
                    </a:cubicBezTo>
                    <a:cubicBezTo>
                      <a:pt x="115782" y="107848"/>
                      <a:pt x="115782" y="107848"/>
                      <a:pt x="115782" y="107848"/>
                    </a:cubicBezTo>
                    <a:cubicBezTo>
                      <a:pt x="116549" y="106329"/>
                      <a:pt x="116549" y="106329"/>
                      <a:pt x="116549" y="106329"/>
                    </a:cubicBezTo>
                    <a:cubicBezTo>
                      <a:pt x="116166" y="102531"/>
                      <a:pt x="116166" y="102531"/>
                      <a:pt x="116166" y="102531"/>
                    </a:cubicBezTo>
                    <a:cubicBezTo>
                      <a:pt x="115015" y="101012"/>
                      <a:pt x="115015" y="101012"/>
                      <a:pt x="115015" y="101012"/>
                    </a:cubicBezTo>
                    <a:cubicBezTo>
                      <a:pt x="114632" y="98734"/>
                      <a:pt x="114632" y="98734"/>
                      <a:pt x="114632" y="98734"/>
                    </a:cubicBezTo>
                    <a:cubicBezTo>
                      <a:pt x="113865" y="93417"/>
                      <a:pt x="113865" y="93417"/>
                      <a:pt x="113865" y="93417"/>
                    </a:cubicBezTo>
                    <a:cubicBezTo>
                      <a:pt x="113865" y="85822"/>
                      <a:pt x="113865" y="85822"/>
                      <a:pt x="113865" y="85822"/>
                    </a:cubicBezTo>
                    <a:cubicBezTo>
                      <a:pt x="113482" y="84303"/>
                      <a:pt x="113482" y="84303"/>
                      <a:pt x="113482" y="84303"/>
                    </a:cubicBezTo>
                    <a:cubicBezTo>
                      <a:pt x="112715" y="82025"/>
                      <a:pt x="112715" y="82025"/>
                      <a:pt x="112715" y="82025"/>
                    </a:cubicBezTo>
                    <a:cubicBezTo>
                      <a:pt x="113099" y="78987"/>
                      <a:pt x="113099" y="78987"/>
                      <a:pt x="113099" y="78987"/>
                    </a:cubicBezTo>
                    <a:cubicBezTo>
                      <a:pt x="113099" y="71392"/>
                      <a:pt x="113099" y="71392"/>
                      <a:pt x="113099" y="71392"/>
                    </a:cubicBezTo>
                    <a:cubicBezTo>
                      <a:pt x="112332" y="66075"/>
                      <a:pt x="112332" y="66075"/>
                      <a:pt x="112332" y="66075"/>
                    </a:cubicBezTo>
                    <a:cubicBezTo>
                      <a:pt x="111565" y="64556"/>
                      <a:pt x="111565" y="64556"/>
                      <a:pt x="111565" y="64556"/>
                    </a:cubicBezTo>
                    <a:cubicBezTo>
                      <a:pt x="110798" y="64556"/>
                      <a:pt x="110798" y="64556"/>
                      <a:pt x="110798" y="64556"/>
                    </a:cubicBezTo>
                    <a:cubicBezTo>
                      <a:pt x="110415" y="63037"/>
                      <a:pt x="110415" y="63037"/>
                      <a:pt x="110415" y="63037"/>
                    </a:cubicBezTo>
                    <a:cubicBezTo>
                      <a:pt x="110031" y="59240"/>
                      <a:pt x="110031" y="59240"/>
                      <a:pt x="110031" y="59240"/>
                    </a:cubicBezTo>
                    <a:cubicBezTo>
                      <a:pt x="109648" y="56202"/>
                      <a:pt x="109648" y="56202"/>
                      <a:pt x="109648" y="56202"/>
                    </a:cubicBezTo>
                    <a:cubicBezTo>
                      <a:pt x="110798" y="55443"/>
                      <a:pt x="110798" y="55443"/>
                      <a:pt x="110798" y="55443"/>
                    </a:cubicBezTo>
                    <a:cubicBezTo>
                      <a:pt x="110798" y="54683"/>
                      <a:pt x="110798" y="54683"/>
                      <a:pt x="110798" y="54683"/>
                    </a:cubicBezTo>
                    <a:cubicBezTo>
                      <a:pt x="110415" y="53924"/>
                      <a:pt x="110415" y="53924"/>
                      <a:pt x="110415" y="53924"/>
                    </a:cubicBezTo>
                    <a:cubicBezTo>
                      <a:pt x="110031" y="51645"/>
                      <a:pt x="110031" y="51645"/>
                      <a:pt x="110031" y="51645"/>
                    </a:cubicBezTo>
                    <a:cubicBezTo>
                      <a:pt x="109265" y="49367"/>
                      <a:pt x="109265" y="49367"/>
                      <a:pt x="109265" y="49367"/>
                    </a:cubicBezTo>
                    <a:cubicBezTo>
                      <a:pt x="108498" y="45569"/>
                      <a:pt x="108498" y="45569"/>
                      <a:pt x="108498" y="45569"/>
                    </a:cubicBezTo>
                    <a:cubicBezTo>
                      <a:pt x="107731" y="41012"/>
                      <a:pt x="107731" y="41012"/>
                      <a:pt x="107731" y="41012"/>
                    </a:cubicBezTo>
                    <a:cubicBezTo>
                      <a:pt x="106581" y="37215"/>
                      <a:pt x="106581" y="37215"/>
                      <a:pt x="106581" y="37215"/>
                    </a:cubicBezTo>
                    <a:cubicBezTo>
                      <a:pt x="105431" y="30379"/>
                      <a:pt x="105431" y="30379"/>
                      <a:pt x="105431" y="30379"/>
                    </a:cubicBezTo>
                    <a:cubicBezTo>
                      <a:pt x="104281" y="27341"/>
                      <a:pt x="104281" y="27341"/>
                      <a:pt x="104281" y="27341"/>
                    </a:cubicBezTo>
                    <a:cubicBezTo>
                      <a:pt x="103897" y="26582"/>
                      <a:pt x="103897" y="26582"/>
                      <a:pt x="103897" y="26582"/>
                    </a:cubicBezTo>
                    <a:cubicBezTo>
                      <a:pt x="102364" y="24303"/>
                      <a:pt x="102364" y="24303"/>
                      <a:pt x="102364" y="24303"/>
                    </a:cubicBezTo>
                    <a:cubicBezTo>
                      <a:pt x="99680" y="20506"/>
                      <a:pt x="99680" y="20506"/>
                      <a:pt x="99680" y="20506"/>
                    </a:cubicBezTo>
                    <a:cubicBezTo>
                      <a:pt x="97763" y="18987"/>
                      <a:pt x="97763" y="18987"/>
                      <a:pt x="97763" y="18987"/>
                    </a:cubicBezTo>
                    <a:cubicBezTo>
                      <a:pt x="95846" y="17468"/>
                      <a:pt x="95846" y="17468"/>
                      <a:pt x="95846" y="17468"/>
                    </a:cubicBezTo>
                    <a:cubicBezTo>
                      <a:pt x="94313" y="14430"/>
                      <a:pt x="94313" y="14430"/>
                      <a:pt x="94313" y="14430"/>
                    </a:cubicBezTo>
                    <a:cubicBezTo>
                      <a:pt x="91629" y="13670"/>
                      <a:pt x="91629" y="13670"/>
                      <a:pt x="91629" y="13670"/>
                    </a:cubicBezTo>
                    <a:cubicBezTo>
                      <a:pt x="88178" y="14430"/>
                      <a:pt x="88178" y="14430"/>
                      <a:pt x="88178" y="14430"/>
                    </a:cubicBezTo>
                    <a:cubicBezTo>
                      <a:pt x="87028" y="14430"/>
                      <a:pt x="87028" y="14430"/>
                      <a:pt x="87028" y="14430"/>
                    </a:cubicBezTo>
                    <a:cubicBezTo>
                      <a:pt x="85878" y="15189"/>
                      <a:pt x="85878" y="15189"/>
                      <a:pt x="85878" y="15189"/>
                    </a:cubicBezTo>
                    <a:cubicBezTo>
                      <a:pt x="85111" y="16708"/>
                      <a:pt x="85111" y="16708"/>
                      <a:pt x="85111" y="16708"/>
                    </a:cubicBezTo>
                    <a:cubicBezTo>
                      <a:pt x="83961" y="15949"/>
                      <a:pt x="83961" y="15949"/>
                      <a:pt x="83961" y="15949"/>
                    </a:cubicBezTo>
                    <a:cubicBezTo>
                      <a:pt x="82811" y="14430"/>
                      <a:pt x="82811" y="14430"/>
                      <a:pt x="82811" y="14430"/>
                    </a:cubicBezTo>
                    <a:cubicBezTo>
                      <a:pt x="80511" y="12151"/>
                      <a:pt x="80511" y="12151"/>
                      <a:pt x="80511" y="12151"/>
                    </a:cubicBezTo>
                    <a:cubicBezTo>
                      <a:pt x="77444" y="9113"/>
                      <a:pt x="77444" y="9113"/>
                      <a:pt x="77444" y="9113"/>
                    </a:cubicBezTo>
                    <a:cubicBezTo>
                      <a:pt x="3833" y="0"/>
                      <a:pt x="3833" y="0"/>
                      <a:pt x="3833" y="0"/>
                    </a:cubicBezTo>
                    <a:cubicBezTo>
                      <a:pt x="0" y="72151"/>
                      <a:pt x="0" y="72151"/>
                      <a:pt x="0" y="72151"/>
                    </a:cubicBezTo>
                    <a:cubicBezTo>
                      <a:pt x="27987" y="77468"/>
                      <a:pt x="27987" y="77468"/>
                      <a:pt x="27987" y="77468"/>
                    </a:cubicBezTo>
                    <a:cubicBezTo>
                      <a:pt x="26453" y="113164"/>
                      <a:pt x="26453" y="113164"/>
                      <a:pt x="26453" y="113164"/>
                    </a:cubicBezTo>
                    <a:cubicBezTo>
                      <a:pt x="26453" y="113164"/>
                      <a:pt x="26453" y="113164"/>
                      <a:pt x="26453" y="113164"/>
                    </a:cubicBezTo>
                    <a:cubicBezTo>
                      <a:pt x="28753" y="113164"/>
                      <a:pt x="71309" y="116962"/>
                      <a:pt x="85878" y="117721"/>
                    </a:cubicBezTo>
                    <a:cubicBezTo>
                      <a:pt x="94313" y="118481"/>
                      <a:pt x="120000" y="120000"/>
                      <a:pt x="120000" y="120000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58" name="Shape 1393">
                <a:extLst>
                  <a:ext uri="{FF2B5EF4-FFF2-40B4-BE49-F238E27FC236}">
                    <a16:creationId xmlns:a16="http://schemas.microsoft.com/office/drawing/2014/main" id="{78489633-0B75-4D71-B031-962A78AC1A27}"/>
                  </a:ext>
                </a:extLst>
              </p:cNvPr>
              <p:cNvSpPr/>
              <p:nvPr/>
            </p:nvSpPr>
            <p:spPr>
              <a:xfrm>
                <a:off x="7222396" y="2216059"/>
                <a:ext cx="931169" cy="620939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89219" y="105333"/>
                    </a:moveTo>
                    <a:cubicBezTo>
                      <a:pt x="91895" y="107333"/>
                      <a:pt x="91895" y="107333"/>
                      <a:pt x="91895" y="107333"/>
                    </a:cubicBezTo>
                    <a:cubicBezTo>
                      <a:pt x="93234" y="108666"/>
                      <a:pt x="93234" y="108666"/>
                      <a:pt x="93234" y="108666"/>
                    </a:cubicBezTo>
                    <a:cubicBezTo>
                      <a:pt x="94572" y="109333"/>
                      <a:pt x="94572" y="109333"/>
                      <a:pt x="94572" y="109333"/>
                    </a:cubicBezTo>
                    <a:cubicBezTo>
                      <a:pt x="95464" y="108000"/>
                      <a:pt x="95464" y="108000"/>
                      <a:pt x="95464" y="108000"/>
                    </a:cubicBezTo>
                    <a:cubicBezTo>
                      <a:pt x="96802" y="107333"/>
                      <a:pt x="96802" y="107333"/>
                      <a:pt x="96802" y="107333"/>
                    </a:cubicBezTo>
                    <a:cubicBezTo>
                      <a:pt x="98141" y="107333"/>
                      <a:pt x="98141" y="107333"/>
                      <a:pt x="98141" y="107333"/>
                    </a:cubicBezTo>
                    <a:cubicBezTo>
                      <a:pt x="102156" y="106666"/>
                      <a:pt x="102156" y="106666"/>
                      <a:pt x="102156" y="106666"/>
                    </a:cubicBezTo>
                    <a:cubicBezTo>
                      <a:pt x="105278" y="107333"/>
                      <a:pt x="105278" y="107333"/>
                      <a:pt x="105278" y="107333"/>
                    </a:cubicBezTo>
                    <a:cubicBezTo>
                      <a:pt x="107063" y="110000"/>
                      <a:pt x="107063" y="110000"/>
                      <a:pt x="107063" y="110000"/>
                    </a:cubicBezTo>
                    <a:cubicBezTo>
                      <a:pt x="109293" y="111333"/>
                      <a:pt x="109293" y="111333"/>
                      <a:pt x="109293" y="111333"/>
                    </a:cubicBezTo>
                    <a:cubicBezTo>
                      <a:pt x="111524" y="112666"/>
                      <a:pt x="111524" y="112666"/>
                      <a:pt x="111524" y="112666"/>
                    </a:cubicBezTo>
                    <a:cubicBezTo>
                      <a:pt x="114646" y="116000"/>
                      <a:pt x="114646" y="116000"/>
                      <a:pt x="114646" y="116000"/>
                    </a:cubicBezTo>
                    <a:cubicBezTo>
                      <a:pt x="116431" y="118000"/>
                      <a:pt x="116431" y="118000"/>
                      <a:pt x="116431" y="118000"/>
                    </a:cubicBezTo>
                    <a:cubicBezTo>
                      <a:pt x="116877" y="118666"/>
                      <a:pt x="116877" y="118666"/>
                      <a:pt x="116877" y="118666"/>
                    </a:cubicBezTo>
                    <a:cubicBezTo>
                      <a:pt x="117323" y="120000"/>
                      <a:pt x="117323" y="120000"/>
                      <a:pt x="117323" y="120000"/>
                    </a:cubicBezTo>
                    <a:cubicBezTo>
                      <a:pt x="117323" y="120000"/>
                      <a:pt x="117323" y="120000"/>
                      <a:pt x="117323" y="120000"/>
                    </a:cubicBezTo>
                    <a:cubicBezTo>
                      <a:pt x="117323" y="118000"/>
                      <a:pt x="117323" y="118000"/>
                      <a:pt x="117323" y="118000"/>
                    </a:cubicBezTo>
                    <a:cubicBezTo>
                      <a:pt x="117323" y="115333"/>
                      <a:pt x="117323" y="115333"/>
                      <a:pt x="117323" y="115333"/>
                    </a:cubicBezTo>
                    <a:cubicBezTo>
                      <a:pt x="115539" y="113333"/>
                      <a:pt x="115539" y="113333"/>
                      <a:pt x="115539" y="113333"/>
                    </a:cubicBezTo>
                    <a:cubicBezTo>
                      <a:pt x="115539" y="111333"/>
                      <a:pt x="115539" y="111333"/>
                      <a:pt x="115539" y="111333"/>
                    </a:cubicBezTo>
                    <a:cubicBezTo>
                      <a:pt x="115985" y="109333"/>
                      <a:pt x="115985" y="109333"/>
                      <a:pt x="115985" y="109333"/>
                    </a:cubicBezTo>
                    <a:cubicBezTo>
                      <a:pt x="117323" y="108666"/>
                      <a:pt x="117323" y="108666"/>
                      <a:pt x="117323" y="108666"/>
                    </a:cubicBezTo>
                    <a:cubicBezTo>
                      <a:pt x="117323" y="104000"/>
                      <a:pt x="117323" y="104000"/>
                      <a:pt x="117323" y="104000"/>
                    </a:cubicBezTo>
                    <a:cubicBezTo>
                      <a:pt x="117769" y="102000"/>
                      <a:pt x="117769" y="102000"/>
                      <a:pt x="117769" y="102000"/>
                    </a:cubicBezTo>
                    <a:cubicBezTo>
                      <a:pt x="118661" y="101333"/>
                      <a:pt x="118661" y="101333"/>
                      <a:pt x="118661" y="101333"/>
                    </a:cubicBezTo>
                    <a:cubicBezTo>
                      <a:pt x="118661" y="98666"/>
                      <a:pt x="118661" y="98666"/>
                      <a:pt x="118661" y="98666"/>
                    </a:cubicBezTo>
                    <a:cubicBezTo>
                      <a:pt x="117769" y="95333"/>
                      <a:pt x="117769" y="95333"/>
                      <a:pt x="117769" y="95333"/>
                    </a:cubicBezTo>
                    <a:cubicBezTo>
                      <a:pt x="116877" y="94666"/>
                      <a:pt x="116877" y="94666"/>
                      <a:pt x="116877" y="94666"/>
                    </a:cubicBezTo>
                    <a:cubicBezTo>
                      <a:pt x="117323" y="91333"/>
                      <a:pt x="117323" y="91333"/>
                      <a:pt x="117323" y="91333"/>
                    </a:cubicBezTo>
                    <a:cubicBezTo>
                      <a:pt x="117323" y="89333"/>
                      <a:pt x="117323" y="89333"/>
                      <a:pt x="117323" y="89333"/>
                    </a:cubicBezTo>
                    <a:cubicBezTo>
                      <a:pt x="118661" y="89333"/>
                      <a:pt x="118661" y="89333"/>
                      <a:pt x="118661" y="89333"/>
                    </a:cubicBezTo>
                    <a:cubicBezTo>
                      <a:pt x="120000" y="31333"/>
                      <a:pt x="120000" y="31333"/>
                      <a:pt x="120000" y="31333"/>
                    </a:cubicBezTo>
                    <a:cubicBezTo>
                      <a:pt x="118661" y="29333"/>
                      <a:pt x="118661" y="29333"/>
                      <a:pt x="118661" y="29333"/>
                    </a:cubicBezTo>
                    <a:cubicBezTo>
                      <a:pt x="117769" y="27333"/>
                      <a:pt x="117769" y="27333"/>
                      <a:pt x="117769" y="27333"/>
                    </a:cubicBezTo>
                    <a:cubicBezTo>
                      <a:pt x="115539" y="26000"/>
                      <a:pt x="115539" y="26000"/>
                      <a:pt x="115539" y="26000"/>
                    </a:cubicBezTo>
                    <a:cubicBezTo>
                      <a:pt x="115092" y="24000"/>
                      <a:pt x="115092" y="24000"/>
                      <a:pt x="115092" y="24000"/>
                    </a:cubicBezTo>
                    <a:cubicBezTo>
                      <a:pt x="113754" y="22000"/>
                      <a:pt x="113754" y="22000"/>
                      <a:pt x="113754" y="22000"/>
                    </a:cubicBezTo>
                    <a:cubicBezTo>
                      <a:pt x="113308" y="20666"/>
                      <a:pt x="113308" y="20666"/>
                      <a:pt x="113308" y="20666"/>
                    </a:cubicBezTo>
                    <a:cubicBezTo>
                      <a:pt x="113308" y="19333"/>
                      <a:pt x="113308" y="19333"/>
                      <a:pt x="113308" y="19333"/>
                    </a:cubicBezTo>
                    <a:cubicBezTo>
                      <a:pt x="113308" y="18000"/>
                      <a:pt x="113308" y="18000"/>
                      <a:pt x="113308" y="18000"/>
                    </a:cubicBezTo>
                    <a:cubicBezTo>
                      <a:pt x="114646" y="16000"/>
                      <a:pt x="114646" y="16000"/>
                      <a:pt x="114646" y="16000"/>
                    </a:cubicBezTo>
                    <a:cubicBezTo>
                      <a:pt x="115985" y="14000"/>
                      <a:pt x="115985" y="14000"/>
                      <a:pt x="115985" y="14000"/>
                    </a:cubicBezTo>
                    <a:cubicBezTo>
                      <a:pt x="117769" y="11333"/>
                      <a:pt x="117769" y="11333"/>
                      <a:pt x="117769" y="11333"/>
                    </a:cubicBezTo>
                    <a:cubicBezTo>
                      <a:pt x="117323" y="10000"/>
                      <a:pt x="117323" y="10000"/>
                      <a:pt x="117323" y="10000"/>
                    </a:cubicBezTo>
                    <a:cubicBezTo>
                      <a:pt x="117323" y="9333"/>
                      <a:pt x="117323" y="9333"/>
                      <a:pt x="117323" y="9333"/>
                    </a:cubicBezTo>
                    <a:cubicBezTo>
                      <a:pt x="117323" y="9333"/>
                      <a:pt x="74498" y="6666"/>
                      <a:pt x="60669" y="5333"/>
                    </a:cubicBezTo>
                    <a:cubicBezTo>
                      <a:pt x="46840" y="4000"/>
                      <a:pt x="6245" y="0"/>
                      <a:pt x="6245" y="0"/>
                    </a:cubicBezTo>
                    <a:cubicBezTo>
                      <a:pt x="0" y="94666"/>
                      <a:pt x="0" y="94666"/>
                      <a:pt x="0" y="94666"/>
                    </a:cubicBezTo>
                    <a:cubicBezTo>
                      <a:pt x="85650" y="102666"/>
                      <a:pt x="85650" y="102666"/>
                      <a:pt x="85650" y="102666"/>
                    </a:cubicBezTo>
                    <a:lnTo>
                      <a:pt x="89219" y="105333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59" name="Shape 1394">
                <a:extLst>
                  <a:ext uri="{FF2B5EF4-FFF2-40B4-BE49-F238E27FC236}">
                    <a16:creationId xmlns:a16="http://schemas.microsoft.com/office/drawing/2014/main" id="{16586909-6934-4D45-9ADC-A3C9F54CD82B}"/>
                  </a:ext>
                </a:extLst>
              </p:cNvPr>
              <p:cNvSpPr/>
              <p:nvPr/>
            </p:nvSpPr>
            <p:spPr>
              <a:xfrm>
                <a:off x="6323898" y="2260993"/>
                <a:ext cx="935252" cy="772091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19999" y="17142"/>
                    </a:moveTo>
                    <a:lnTo>
                      <a:pt x="119475" y="17142"/>
                    </a:lnTo>
                    <a:lnTo>
                      <a:pt x="14672" y="0"/>
                    </a:lnTo>
                    <a:lnTo>
                      <a:pt x="12576" y="14603"/>
                    </a:lnTo>
                    <a:lnTo>
                      <a:pt x="3668" y="77460"/>
                    </a:lnTo>
                    <a:lnTo>
                      <a:pt x="0" y="102857"/>
                    </a:lnTo>
                    <a:lnTo>
                      <a:pt x="31965" y="109206"/>
                    </a:lnTo>
                    <a:lnTo>
                      <a:pt x="111091" y="120000"/>
                    </a:lnTo>
                    <a:lnTo>
                      <a:pt x="115283" y="69206"/>
                    </a:lnTo>
                    <a:lnTo>
                      <a:pt x="119999" y="17142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60" name="Shape 1395">
                <a:extLst>
                  <a:ext uri="{FF2B5EF4-FFF2-40B4-BE49-F238E27FC236}">
                    <a16:creationId xmlns:a16="http://schemas.microsoft.com/office/drawing/2014/main" id="{3FC85878-01D5-4EF0-BB16-77DDB44C66AE}"/>
                  </a:ext>
                </a:extLst>
              </p:cNvPr>
              <p:cNvSpPr/>
              <p:nvPr/>
            </p:nvSpPr>
            <p:spPr>
              <a:xfrm>
                <a:off x="7271404" y="1705418"/>
                <a:ext cx="869907" cy="559666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19043" y="119259"/>
                    </a:moveTo>
                    <a:cubicBezTo>
                      <a:pt x="119043" y="120000"/>
                      <a:pt x="119043" y="120000"/>
                      <a:pt x="119043" y="120000"/>
                    </a:cubicBezTo>
                    <a:cubicBezTo>
                      <a:pt x="119043" y="120000"/>
                      <a:pt x="119043" y="120000"/>
                      <a:pt x="119043" y="120000"/>
                    </a:cubicBezTo>
                    <a:cubicBezTo>
                      <a:pt x="120000" y="118518"/>
                      <a:pt x="120000" y="118518"/>
                      <a:pt x="120000" y="118518"/>
                    </a:cubicBezTo>
                    <a:cubicBezTo>
                      <a:pt x="120000" y="114814"/>
                      <a:pt x="120000" y="114814"/>
                      <a:pt x="120000" y="114814"/>
                    </a:cubicBezTo>
                    <a:cubicBezTo>
                      <a:pt x="120000" y="111111"/>
                      <a:pt x="120000" y="111111"/>
                      <a:pt x="120000" y="111111"/>
                    </a:cubicBezTo>
                    <a:cubicBezTo>
                      <a:pt x="119521" y="106666"/>
                      <a:pt x="119521" y="106666"/>
                      <a:pt x="119521" y="106666"/>
                    </a:cubicBezTo>
                    <a:cubicBezTo>
                      <a:pt x="118565" y="104444"/>
                      <a:pt x="118565" y="104444"/>
                      <a:pt x="118565" y="104444"/>
                    </a:cubicBezTo>
                    <a:cubicBezTo>
                      <a:pt x="117131" y="102222"/>
                      <a:pt x="117131" y="102222"/>
                      <a:pt x="117131" y="102222"/>
                    </a:cubicBezTo>
                    <a:cubicBezTo>
                      <a:pt x="117131" y="97037"/>
                      <a:pt x="117131" y="97037"/>
                      <a:pt x="117131" y="97037"/>
                    </a:cubicBezTo>
                    <a:cubicBezTo>
                      <a:pt x="116653" y="95555"/>
                      <a:pt x="116653" y="95555"/>
                      <a:pt x="116653" y="95555"/>
                    </a:cubicBezTo>
                    <a:cubicBezTo>
                      <a:pt x="115697" y="93333"/>
                      <a:pt x="115697" y="93333"/>
                      <a:pt x="115697" y="93333"/>
                    </a:cubicBezTo>
                    <a:cubicBezTo>
                      <a:pt x="115697" y="86666"/>
                      <a:pt x="115697" y="86666"/>
                      <a:pt x="115697" y="86666"/>
                    </a:cubicBezTo>
                    <a:cubicBezTo>
                      <a:pt x="115697" y="76296"/>
                      <a:pt x="115697" y="76296"/>
                      <a:pt x="115697" y="76296"/>
                    </a:cubicBezTo>
                    <a:cubicBezTo>
                      <a:pt x="115219" y="63703"/>
                      <a:pt x="115219" y="63703"/>
                      <a:pt x="115219" y="63703"/>
                    </a:cubicBezTo>
                    <a:cubicBezTo>
                      <a:pt x="115219" y="57037"/>
                      <a:pt x="115219" y="57037"/>
                      <a:pt x="115219" y="57037"/>
                    </a:cubicBezTo>
                    <a:cubicBezTo>
                      <a:pt x="113306" y="51851"/>
                      <a:pt x="113306" y="51851"/>
                      <a:pt x="113306" y="51851"/>
                    </a:cubicBezTo>
                    <a:cubicBezTo>
                      <a:pt x="111872" y="44444"/>
                      <a:pt x="111872" y="44444"/>
                      <a:pt x="111872" y="44444"/>
                    </a:cubicBezTo>
                    <a:cubicBezTo>
                      <a:pt x="110916" y="40000"/>
                      <a:pt x="110916" y="40000"/>
                      <a:pt x="110916" y="40000"/>
                    </a:cubicBezTo>
                    <a:cubicBezTo>
                      <a:pt x="111872" y="34814"/>
                      <a:pt x="111872" y="34814"/>
                      <a:pt x="111872" y="34814"/>
                    </a:cubicBezTo>
                    <a:cubicBezTo>
                      <a:pt x="111394" y="30370"/>
                      <a:pt x="111394" y="30370"/>
                      <a:pt x="111394" y="30370"/>
                    </a:cubicBezTo>
                    <a:cubicBezTo>
                      <a:pt x="110916" y="28888"/>
                      <a:pt x="110916" y="28888"/>
                      <a:pt x="110916" y="28888"/>
                    </a:cubicBezTo>
                    <a:cubicBezTo>
                      <a:pt x="110916" y="25185"/>
                      <a:pt x="110916" y="25185"/>
                      <a:pt x="110916" y="25185"/>
                    </a:cubicBezTo>
                    <a:cubicBezTo>
                      <a:pt x="110916" y="24444"/>
                      <a:pt x="110916" y="24444"/>
                      <a:pt x="110916" y="24444"/>
                    </a:cubicBezTo>
                    <a:cubicBezTo>
                      <a:pt x="111872" y="22962"/>
                      <a:pt x="111872" y="22962"/>
                      <a:pt x="111872" y="22962"/>
                    </a:cubicBezTo>
                    <a:cubicBezTo>
                      <a:pt x="112350" y="21481"/>
                      <a:pt x="112350" y="21481"/>
                      <a:pt x="112350" y="21481"/>
                    </a:cubicBezTo>
                    <a:cubicBezTo>
                      <a:pt x="112350" y="18518"/>
                      <a:pt x="112350" y="18518"/>
                      <a:pt x="112350" y="18518"/>
                    </a:cubicBezTo>
                    <a:cubicBezTo>
                      <a:pt x="110916" y="16296"/>
                      <a:pt x="110916" y="16296"/>
                      <a:pt x="110916" y="16296"/>
                    </a:cubicBezTo>
                    <a:cubicBezTo>
                      <a:pt x="110916" y="15555"/>
                      <a:pt x="110916" y="15555"/>
                      <a:pt x="110916" y="15555"/>
                    </a:cubicBezTo>
                    <a:cubicBezTo>
                      <a:pt x="110438" y="13333"/>
                      <a:pt x="110438" y="13333"/>
                      <a:pt x="110438" y="13333"/>
                    </a:cubicBezTo>
                    <a:cubicBezTo>
                      <a:pt x="109960" y="9629"/>
                      <a:pt x="109960" y="9629"/>
                      <a:pt x="109960" y="9629"/>
                    </a:cubicBezTo>
                    <a:cubicBezTo>
                      <a:pt x="109960" y="9629"/>
                      <a:pt x="62151" y="6666"/>
                      <a:pt x="46374" y="5185"/>
                    </a:cubicBezTo>
                    <a:cubicBezTo>
                      <a:pt x="36334" y="4444"/>
                      <a:pt x="6693" y="0"/>
                      <a:pt x="6693" y="0"/>
                    </a:cubicBezTo>
                    <a:cubicBezTo>
                      <a:pt x="0" y="108888"/>
                      <a:pt x="0" y="108888"/>
                      <a:pt x="0" y="108888"/>
                    </a:cubicBezTo>
                    <a:cubicBezTo>
                      <a:pt x="0" y="108888"/>
                      <a:pt x="43505" y="113333"/>
                      <a:pt x="58326" y="114814"/>
                    </a:cubicBezTo>
                    <a:cubicBezTo>
                      <a:pt x="73147" y="116296"/>
                      <a:pt x="119043" y="119259"/>
                      <a:pt x="119043" y="119259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61" name="Shape 1396">
                <a:extLst>
                  <a:ext uri="{FF2B5EF4-FFF2-40B4-BE49-F238E27FC236}">
                    <a16:creationId xmlns:a16="http://schemas.microsoft.com/office/drawing/2014/main" id="{B9AAE542-7522-4628-B36C-FE4E23366C0E}"/>
                  </a:ext>
                </a:extLst>
              </p:cNvPr>
              <p:cNvSpPr/>
              <p:nvPr/>
            </p:nvSpPr>
            <p:spPr>
              <a:xfrm>
                <a:off x="6470925" y="2963640"/>
                <a:ext cx="972006" cy="763918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14021" y="120000"/>
                    </a:moveTo>
                    <a:cubicBezTo>
                      <a:pt x="118291" y="40723"/>
                      <a:pt x="118291" y="40723"/>
                      <a:pt x="118291" y="40723"/>
                    </a:cubicBezTo>
                    <a:cubicBezTo>
                      <a:pt x="118291" y="40723"/>
                      <a:pt x="118291" y="40723"/>
                      <a:pt x="118291" y="40723"/>
                    </a:cubicBezTo>
                    <a:cubicBezTo>
                      <a:pt x="118291" y="40723"/>
                      <a:pt x="118291" y="40723"/>
                      <a:pt x="118291" y="40723"/>
                    </a:cubicBezTo>
                    <a:cubicBezTo>
                      <a:pt x="120000" y="15203"/>
                      <a:pt x="120000" y="15203"/>
                      <a:pt x="120000" y="15203"/>
                    </a:cubicBezTo>
                    <a:cubicBezTo>
                      <a:pt x="88825" y="11402"/>
                      <a:pt x="88825" y="11402"/>
                      <a:pt x="88825" y="11402"/>
                    </a:cubicBezTo>
                    <a:cubicBezTo>
                      <a:pt x="12811" y="0"/>
                      <a:pt x="12811" y="0"/>
                      <a:pt x="12811" y="0"/>
                    </a:cubicBezTo>
                    <a:cubicBezTo>
                      <a:pt x="0" y="104253"/>
                      <a:pt x="0" y="104253"/>
                      <a:pt x="0" y="104253"/>
                    </a:cubicBezTo>
                    <a:cubicBezTo>
                      <a:pt x="97793" y="118914"/>
                      <a:pt x="97793" y="118914"/>
                      <a:pt x="97793" y="118914"/>
                    </a:cubicBezTo>
                    <a:cubicBezTo>
                      <a:pt x="97793" y="118914"/>
                      <a:pt x="104626" y="119457"/>
                      <a:pt x="114021" y="120000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62" name="Shape 1397">
                <a:extLst>
                  <a:ext uri="{FF2B5EF4-FFF2-40B4-BE49-F238E27FC236}">
                    <a16:creationId xmlns:a16="http://schemas.microsoft.com/office/drawing/2014/main" id="{A1046F9E-62DB-46CB-8298-B0D3C46586A6}"/>
                  </a:ext>
                </a:extLst>
              </p:cNvPr>
              <p:cNvSpPr/>
              <p:nvPr/>
            </p:nvSpPr>
            <p:spPr>
              <a:xfrm>
                <a:off x="5825643" y="2689936"/>
                <a:ext cx="747383" cy="935494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20000" y="35109"/>
                    </a:moveTo>
                    <a:lnTo>
                      <a:pt x="80000" y="29868"/>
                    </a:lnTo>
                    <a:lnTo>
                      <a:pt x="84590" y="8908"/>
                    </a:lnTo>
                    <a:lnTo>
                      <a:pt x="25573" y="0"/>
                    </a:lnTo>
                    <a:lnTo>
                      <a:pt x="0" y="105327"/>
                    </a:lnTo>
                    <a:lnTo>
                      <a:pt x="103606" y="119999"/>
                    </a:lnTo>
                    <a:lnTo>
                      <a:pt x="120000" y="35109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63" name="Shape 1398">
                <a:extLst>
                  <a:ext uri="{FF2B5EF4-FFF2-40B4-BE49-F238E27FC236}">
                    <a16:creationId xmlns:a16="http://schemas.microsoft.com/office/drawing/2014/main" id="{34933A12-4A94-490D-8DF3-B86610D98BBE}"/>
                  </a:ext>
                </a:extLst>
              </p:cNvPr>
              <p:cNvSpPr/>
              <p:nvPr/>
            </p:nvSpPr>
            <p:spPr>
              <a:xfrm>
                <a:off x="5127266" y="2518362"/>
                <a:ext cx="857653" cy="1299068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2419" y="41920"/>
                    </a:moveTo>
                    <a:cubicBezTo>
                      <a:pt x="483" y="42240"/>
                      <a:pt x="483" y="42240"/>
                      <a:pt x="483" y="42240"/>
                    </a:cubicBezTo>
                    <a:cubicBezTo>
                      <a:pt x="0" y="43200"/>
                      <a:pt x="0" y="43200"/>
                      <a:pt x="0" y="43200"/>
                    </a:cubicBezTo>
                    <a:cubicBezTo>
                      <a:pt x="483" y="44480"/>
                      <a:pt x="483" y="44480"/>
                      <a:pt x="483" y="44480"/>
                    </a:cubicBezTo>
                    <a:cubicBezTo>
                      <a:pt x="967" y="45440"/>
                      <a:pt x="967" y="45440"/>
                      <a:pt x="967" y="45440"/>
                    </a:cubicBezTo>
                    <a:cubicBezTo>
                      <a:pt x="1451" y="45760"/>
                      <a:pt x="1451" y="45760"/>
                      <a:pt x="1451" y="45760"/>
                    </a:cubicBezTo>
                    <a:cubicBezTo>
                      <a:pt x="3387" y="46400"/>
                      <a:pt x="3387" y="46400"/>
                      <a:pt x="3387" y="46400"/>
                    </a:cubicBezTo>
                    <a:cubicBezTo>
                      <a:pt x="77419" y="120000"/>
                      <a:pt x="77419" y="120000"/>
                      <a:pt x="77419" y="120000"/>
                    </a:cubicBezTo>
                    <a:cubicBezTo>
                      <a:pt x="78870" y="118720"/>
                      <a:pt x="78870" y="118720"/>
                      <a:pt x="78870" y="118720"/>
                    </a:cubicBezTo>
                    <a:cubicBezTo>
                      <a:pt x="79354" y="117440"/>
                      <a:pt x="79354" y="117440"/>
                      <a:pt x="79354" y="117440"/>
                    </a:cubicBezTo>
                    <a:cubicBezTo>
                      <a:pt x="79354" y="113280"/>
                      <a:pt x="79354" y="113280"/>
                      <a:pt x="79354" y="113280"/>
                    </a:cubicBezTo>
                    <a:cubicBezTo>
                      <a:pt x="79354" y="108800"/>
                      <a:pt x="79354" y="108800"/>
                      <a:pt x="79354" y="108800"/>
                    </a:cubicBezTo>
                    <a:cubicBezTo>
                      <a:pt x="79354" y="105280"/>
                      <a:pt x="79354" y="105280"/>
                      <a:pt x="79354" y="105280"/>
                    </a:cubicBezTo>
                    <a:cubicBezTo>
                      <a:pt x="80806" y="104320"/>
                      <a:pt x="80806" y="104320"/>
                      <a:pt x="80806" y="104320"/>
                    </a:cubicBezTo>
                    <a:cubicBezTo>
                      <a:pt x="84193" y="103680"/>
                      <a:pt x="84193" y="103680"/>
                      <a:pt x="84193" y="103680"/>
                    </a:cubicBezTo>
                    <a:cubicBezTo>
                      <a:pt x="85161" y="104960"/>
                      <a:pt x="85161" y="104960"/>
                      <a:pt x="85161" y="104960"/>
                    </a:cubicBezTo>
                    <a:cubicBezTo>
                      <a:pt x="87096" y="104320"/>
                      <a:pt x="87096" y="104320"/>
                      <a:pt x="87096" y="104320"/>
                    </a:cubicBezTo>
                    <a:cubicBezTo>
                      <a:pt x="89516" y="105600"/>
                      <a:pt x="89516" y="105600"/>
                      <a:pt x="89516" y="105600"/>
                    </a:cubicBezTo>
                    <a:cubicBezTo>
                      <a:pt x="90967" y="106240"/>
                      <a:pt x="90967" y="106240"/>
                      <a:pt x="90967" y="106240"/>
                    </a:cubicBezTo>
                    <a:cubicBezTo>
                      <a:pt x="92419" y="105600"/>
                      <a:pt x="92419" y="105600"/>
                      <a:pt x="92419" y="105600"/>
                    </a:cubicBezTo>
                    <a:cubicBezTo>
                      <a:pt x="92419" y="105600"/>
                      <a:pt x="94354" y="101120"/>
                      <a:pt x="95322" y="99840"/>
                    </a:cubicBezTo>
                    <a:cubicBezTo>
                      <a:pt x="95806" y="97920"/>
                      <a:pt x="97741" y="91840"/>
                      <a:pt x="97741" y="91840"/>
                    </a:cubicBezTo>
                    <a:cubicBezTo>
                      <a:pt x="120000" y="15680"/>
                      <a:pt x="120000" y="15680"/>
                      <a:pt x="120000" y="15680"/>
                    </a:cubicBezTo>
                    <a:cubicBezTo>
                      <a:pt x="120000" y="15680"/>
                      <a:pt x="78870" y="9920"/>
                      <a:pt x="64838" y="7680"/>
                    </a:cubicBezTo>
                    <a:cubicBezTo>
                      <a:pt x="53709" y="6080"/>
                      <a:pt x="20322" y="0"/>
                      <a:pt x="20322" y="0"/>
                    </a:cubicBezTo>
                    <a:cubicBezTo>
                      <a:pt x="3870" y="41600"/>
                      <a:pt x="3870" y="41600"/>
                      <a:pt x="3870" y="41600"/>
                    </a:cubicBezTo>
                    <a:lnTo>
                      <a:pt x="2419" y="4192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64" name="Shape 1399">
                <a:extLst>
                  <a:ext uri="{FF2B5EF4-FFF2-40B4-BE49-F238E27FC236}">
                    <a16:creationId xmlns:a16="http://schemas.microsoft.com/office/drawing/2014/main" id="{754BB569-09F7-4804-9E1D-5A51A616D902}"/>
                  </a:ext>
                </a:extLst>
              </p:cNvPr>
              <p:cNvSpPr/>
              <p:nvPr/>
            </p:nvSpPr>
            <p:spPr>
              <a:xfrm>
                <a:off x="4763785" y="1709504"/>
                <a:ext cx="1065942" cy="902815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97792" y="120000"/>
                    </a:moveTo>
                    <a:cubicBezTo>
                      <a:pt x="104805" y="83678"/>
                      <a:pt x="104805" y="83678"/>
                      <a:pt x="104805" y="83678"/>
                    </a:cubicBezTo>
                    <a:cubicBezTo>
                      <a:pt x="104805" y="81379"/>
                      <a:pt x="104805" y="81379"/>
                      <a:pt x="104805" y="81379"/>
                    </a:cubicBezTo>
                    <a:cubicBezTo>
                      <a:pt x="105194" y="80459"/>
                      <a:pt x="105194" y="80459"/>
                      <a:pt x="105194" y="80459"/>
                    </a:cubicBezTo>
                    <a:cubicBezTo>
                      <a:pt x="107142" y="79540"/>
                      <a:pt x="107142" y="79540"/>
                      <a:pt x="107142" y="79540"/>
                    </a:cubicBezTo>
                    <a:cubicBezTo>
                      <a:pt x="107142" y="78620"/>
                      <a:pt x="107142" y="78620"/>
                      <a:pt x="107142" y="78620"/>
                    </a:cubicBezTo>
                    <a:cubicBezTo>
                      <a:pt x="107532" y="76781"/>
                      <a:pt x="107532" y="76781"/>
                      <a:pt x="107532" y="76781"/>
                    </a:cubicBezTo>
                    <a:cubicBezTo>
                      <a:pt x="107532" y="73103"/>
                      <a:pt x="107532" y="73103"/>
                      <a:pt x="107532" y="73103"/>
                    </a:cubicBezTo>
                    <a:cubicBezTo>
                      <a:pt x="107922" y="72183"/>
                      <a:pt x="107922" y="72183"/>
                      <a:pt x="107922" y="72183"/>
                    </a:cubicBezTo>
                    <a:cubicBezTo>
                      <a:pt x="106753" y="70804"/>
                      <a:pt x="106753" y="70804"/>
                      <a:pt x="106753" y="70804"/>
                    </a:cubicBezTo>
                    <a:cubicBezTo>
                      <a:pt x="106363" y="70804"/>
                      <a:pt x="106363" y="70804"/>
                      <a:pt x="106363" y="70804"/>
                    </a:cubicBezTo>
                    <a:cubicBezTo>
                      <a:pt x="105584" y="70344"/>
                      <a:pt x="105584" y="70344"/>
                      <a:pt x="105584" y="70344"/>
                    </a:cubicBezTo>
                    <a:cubicBezTo>
                      <a:pt x="104805" y="68965"/>
                      <a:pt x="104805" y="68965"/>
                      <a:pt x="104805" y="68965"/>
                    </a:cubicBezTo>
                    <a:cubicBezTo>
                      <a:pt x="105194" y="66666"/>
                      <a:pt x="105194" y="66666"/>
                      <a:pt x="105194" y="66666"/>
                    </a:cubicBezTo>
                    <a:cubicBezTo>
                      <a:pt x="105584" y="65287"/>
                      <a:pt x="105584" y="65287"/>
                      <a:pt x="105584" y="65287"/>
                    </a:cubicBezTo>
                    <a:cubicBezTo>
                      <a:pt x="107922" y="62988"/>
                      <a:pt x="107922" y="62988"/>
                      <a:pt x="107922" y="62988"/>
                    </a:cubicBezTo>
                    <a:cubicBezTo>
                      <a:pt x="111038" y="59310"/>
                      <a:pt x="111038" y="59310"/>
                      <a:pt x="111038" y="59310"/>
                    </a:cubicBezTo>
                    <a:cubicBezTo>
                      <a:pt x="112207" y="57471"/>
                      <a:pt x="112207" y="57471"/>
                      <a:pt x="112207" y="57471"/>
                    </a:cubicBezTo>
                    <a:cubicBezTo>
                      <a:pt x="112597" y="55632"/>
                      <a:pt x="112597" y="55632"/>
                      <a:pt x="112597" y="55632"/>
                    </a:cubicBezTo>
                    <a:cubicBezTo>
                      <a:pt x="113376" y="55172"/>
                      <a:pt x="113376" y="55172"/>
                      <a:pt x="113376" y="55172"/>
                    </a:cubicBezTo>
                    <a:cubicBezTo>
                      <a:pt x="114155" y="52873"/>
                      <a:pt x="114155" y="52873"/>
                      <a:pt x="114155" y="52873"/>
                    </a:cubicBezTo>
                    <a:cubicBezTo>
                      <a:pt x="115714" y="51034"/>
                      <a:pt x="115714" y="51034"/>
                      <a:pt x="115714" y="51034"/>
                    </a:cubicBezTo>
                    <a:cubicBezTo>
                      <a:pt x="116883" y="49195"/>
                      <a:pt x="116883" y="49195"/>
                      <a:pt x="116883" y="49195"/>
                    </a:cubicBezTo>
                    <a:cubicBezTo>
                      <a:pt x="118441" y="47816"/>
                      <a:pt x="118441" y="47816"/>
                      <a:pt x="118441" y="47816"/>
                    </a:cubicBezTo>
                    <a:cubicBezTo>
                      <a:pt x="118831" y="45517"/>
                      <a:pt x="118831" y="45517"/>
                      <a:pt x="118831" y="45517"/>
                    </a:cubicBezTo>
                    <a:cubicBezTo>
                      <a:pt x="120000" y="45057"/>
                      <a:pt x="120000" y="45057"/>
                      <a:pt x="120000" y="45057"/>
                    </a:cubicBezTo>
                    <a:cubicBezTo>
                      <a:pt x="120000" y="43218"/>
                      <a:pt x="120000" y="43218"/>
                      <a:pt x="120000" y="43218"/>
                    </a:cubicBezTo>
                    <a:cubicBezTo>
                      <a:pt x="119610" y="41379"/>
                      <a:pt x="119610" y="41379"/>
                      <a:pt x="119610" y="41379"/>
                    </a:cubicBezTo>
                    <a:cubicBezTo>
                      <a:pt x="118831" y="40000"/>
                      <a:pt x="118831" y="40000"/>
                      <a:pt x="118831" y="40000"/>
                    </a:cubicBezTo>
                    <a:cubicBezTo>
                      <a:pt x="116883" y="38160"/>
                      <a:pt x="116883" y="38160"/>
                      <a:pt x="116883" y="38160"/>
                    </a:cubicBezTo>
                    <a:cubicBezTo>
                      <a:pt x="115714" y="35862"/>
                      <a:pt x="115714" y="35862"/>
                      <a:pt x="115714" y="35862"/>
                    </a:cubicBezTo>
                    <a:cubicBezTo>
                      <a:pt x="115714" y="34022"/>
                      <a:pt x="115714" y="34022"/>
                      <a:pt x="115714" y="34022"/>
                    </a:cubicBezTo>
                    <a:cubicBezTo>
                      <a:pt x="90000" y="26206"/>
                      <a:pt x="90000" y="26206"/>
                      <a:pt x="90000" y="26206"/>
                    </a:cubicBezTo>
                    <a:cubicBezTo>
                      <a:pt x="85714" y="25747"/>
                      <a:pt x="85714" y="25747"/>
                      <a:pt x="85714" y="25747"/>
                    </a:cubicBezTo>
                    <a:cubicBezTo>
                      <a:pt x="84155" y="26206"/>
                      <a:pt x="84155" y="26206"/>
                      <a:pt x="84155" y="26206"/>
                    </a:cubicBezTo>
                    <a:cubicBezTo>
                      <a:pt x="82207" y="25747"/>
                      <a:pt x="82207" y="25747"/>
                      <a:pt x="82207" y="25747"/>
                    </a:cubicBezTo>
                    <a:cubicBezTo>
                      <a:pt x="80649" y="26206"/>
                      <a:pt x="80649" y="26206"/>
                      <a:pt x="80649" y="26206"/>
                    </a:cubicBezTo>
                    <a:cubicBezTo>
                      <a:pt x="69350" y="26666"/>
                      <a:pt x="69350" y="26666"/>
                      <a:pt x="69350" y="26666"/>
                    </a:cubicBezTo>
                    <a:cubicBezTo>
                      <a:pt x="68181" y="25747"/>
                      <a:pt x="68181" y="25747"/>
                      <a:pt x="68181" y="25747"/>
                    </a:cubicBezTo>
                    <a:cubicBezTo>
                      <a:pt x="67012" y="26206"/>
                      <a:pt x="67012" y="26206"/>
                      <a:pt x="67012" y="26206"/>
                    </a:cubicBezTo>
                    <a:cubicBezTo>
                      <a:pt x="65844" y="26666"/>
                      <a:pt x="65844" y="26666"/>
                      <a:pt x="65844" y="26666"/>
                    </a:cubicBezTo>
                    <a:cubicBezTo>
                      <a:pt x="65064" y="26666"/>
                      <a:pt x="65064" y="26666"/>
                      <a:pt x="65064" y="26666"/>
                    </a:cubicBezTo>
                    <a:cubicBezTo>
                      <a:pt x="63896" y="26206"/>
                      <a:pt x="63896" y="26206"/>
                      <a:pt x="63896" y="26206"/>
                    </a:cubicBezTo>
                    <a:cubicBezTo>
                      <a:pt x="63896" y="25747"/>
                      <a:pt x="63896" y="25747"/>
                      <a:pt x="63896" y="25747"/>
                    </a:cubicBezTo>
                    <a:cubicBezTo>
                      <a:pt x="61948" y="25747"/>
                      <a:pt x="61948" y="25747"/>
                      <a:pt x="61948" y="25747"/>
                    </a:cubicBezTo>
                    <a:cubicBezTo>
                      <a:pt x="60779" y="25287"/>
                      <a:pt x="60779" y="25287"/>
                      <a:pt x="60779" y="25287"/>
                    </a:cubicBezTo>
                    <a:cubicBezTo>
                      <a:pt x="60389" y="24367"/>
                      <a:pt x="60389" y="24367"/>
                      <a:pt x="60389" y="24367"/>
                    </a:cubicBezTo>
                    <a:cubicBezTo>
                      <a:pt x="60389" y="23908"/>
                      <a:pt x="60389" y="23908"/>
                      <a:pt x="60389" y="23908"/>
                    </a:cubicBezTo>
                    <a:cubicBezTo>
                      <a:pt x="58831" y="23448"/>
                      <a:pt x="58831" y="23448"/>
                      <a:pt x="58831" y="23448"/>
                    </a:cubicBezTo>
                    <a:cubicBezTo>
                      <a:pt x="55714" y="22528"/>
                      <a:pt x="55714" y="22528"/>
                      <a:pt x="55714" y="22528"/>
                    </a:cubicBezTo>
                    <a:cubicBezTo>
                      <a:pt x="53766" y="21609"/>
                      <a:pt x="53766" y="21609"/>
                      <a:pt x="53766" y="21609"/>
                    </a:cubicBezTo>
                    <a:cubicBezTo>
                      <a:pt x="52987" y="21149"/>
                      <a:pt x="52987" y="21149"/>
                      <a:pt x="52987" y="21149"/>
                    </a:cubicBezTo>
                    <a:cubicBezTo>
                      <a:pt x="50649" y="21609"/>
                      <a:pt x="50649" y="21609"/>
                      <a:pt x="50649" y="21609"/>
                    </a:cubicBezTo>
                    <a:cubicBezTo>
                      <a:pt x="47142" y="22528"/>
                      <a:pt x="47142" y="22528"/>
                      <a:pt x="47142" y="22528"/>
                    </a:cubicBezTo>
                    <a:cubicBezTo>
                      <a:pt x="42857" y="21149"/>
                      <a:pt x="42857" y="21149"/>
                      <a:pt x="42857" y="21149"/>
                    </a:cubicBezTo>
                    <a:cubicBezTo>
                      <a:pt x="40129" y="18390"/>
                      <a:pt x="40129" y="18390"/>
                      <a:pt x="40129" y="18390"/>
                    </a:cubicBezTo>
                    <a:cubicBezTo>
                      <a:pt x="40129" y="18390"/>
                      <a:pt x="41298" y="15172"/>
                      <a:pt x="40909" y="11034"/>
                    </a:cubicBezTo>
                    <a:cubicBezTo>
                      <a:pt x="40519" y="6436"/>
                      <a:pt x="38571" y="5517"/>
                      <a:pt x="38571" y="5517"/>
                    </a:cubicBezTo>
                    <a:cubicBezTo>
                      <a:pt x="36623" y="5517"/>
                      <a:pt x="36623" y="5517"/>
                      <a:pt x="36623" y="5517"/>
                    </a:cubicBezTo>
                    <a:cubicBezTo>
                      <a:pt x="35064" y="4597"/>
                      <a:pt x="35064" y="4597"/>
                      <a:pt x="35064" y="4597"/>
                    </a:cubicBezTo>
                    <a:cubicBezTo>
                      <a:pt x="35064" y="4597"/>
                      <a:pt x="35064" y="1839"/>
                      <a:pt x="33116" y="1839"/>
                    </a:cubicBezTo>
                    <a:cubicBezTo>
                      <a:pt x="31168" y="1839"/>
                      <a:pt x="31168" y="1839"/>
                      <a:pt x="31168" y="1839"/>
                    </a:cubicBezTo>
                    <a:cubicBezTo>
                      <a:pt x="28831" y="1379"/>
                      <a:pt x="28831" y="1379"/>
                      <a:pt x="28831" y="1379"/>
                    </a:cubicBezTo>
                    <a:cubicBezTo>
                      <a:pt x="27272" y="0"/>
                      <a:pt x="27272" y="0"/>
                      <a:pt x="27272" y="0"/>
                    </a:cubicBezTo>
                    <a:cubicBezTo>
                      <a:pt x="27272" y="3218"/>
                      <a:pt x="27272" y="3218"/>
                      <a:pt x="27272" y="3218"/>
                    </a:cubicBezTo>
                    <a:cubicBezTo>
                      <a:pt x="26493" y="5977"/>
                      <a:pt x="26493" y="5977"/>
                      <a:pt x="26493" y="5977"/>
                    </a:cubicBezTo>
                    <a:cubicBezTo>
                      <a:pt x="24545" y="10114"/>
                      <a:pt x="24545" y="10114"/>
                      <a:pt x="24545" y="10114"/>
                    </a:cubicBezTo>
                    <a:cubicBezTo>
                      <a:pt x="24935" y="12873"/>
                      <a:pt x="24935" y="12873"/>
                      <a:pt x="24935" y="12873"/>
                    </a:cubicBezTo>
                    <a:cubicBezTo>
                      <a:pt x="24545" y="15172"/>
                      <a:pt x="24545" y="15172"/>
                      <a:pt x="24545" y="15172"/>
                    </a:cubicBezTo>
                    <a:cubicBezTo>
                      <a:pt x="23376" y="17471"/>
                      <a:pt x="23376" y="17471"/>
                      <a:pt x="23376" y="17471"/>
                    </a:cubicBezTo>
                    <a:cubicBezTo>
                      <a:pt x="22597" y="19770"/>
                      <a:pt x="22597" y="19770"/>
                      <a:pt x="22597" y="19770"/>
                    </a:cubicBezTo>
                    <a:cubicBezTo>
                      <a:pt x="21428" y="22988"/>
                      <a:pt x="21428" y="22988"/>
                      <a:pt x="21428" y="22988"/>
                    </a:cubicBezTo>
                    <a:cubicBezTo>
                      <a:pt x="20649" y="25287"/>
                      <a:pt x="20649" y="25287"/>
                      <a:pt x="20649" y="25287"/>
                    </a:cubicBezTo>
                    <a:cubicBezTo>
                      <a:pt x="18311" y="30804"/>
                      <a:pt x="18311" y="30804"/>
                      <a:pt x="18311" y="30804"/>
                    </a:cubicBezTo>
                    <a:cubicBezTo>
                      <a:pt x="15584" y="39080"/>
                      <a:pt x="15584" y="39080"/>
                      <a:pt x="15584" y="39080"/>
                    </a:cubicBezTo>
                    <a:cubicBezTo>
                      <a:pt x="13636" y="45057"/>
                      <a:pt x="13636" y="45057"/>
                      <a:pt x="13636" y="45057"/>
                    </a:cubicBezTo>
                    <a:cubicBezTo>
                      <a:pt x="11688" y="51034"/>
                      <a:pt x="11688" y="51034"/>
                      <a:pt x="11688" y="51034"/>
                    </a:cubicBezTo>
                    <a:cubicBezTo>
                      <a:pt x="9350" y="55172"/>
                      <a:pt x="9350" y="55172"/>
                      <a:pt x="9350" y="55172"/>
                    </a:cubicBezTo>
                    <a:cubicBezTo>
                      <a:pt x="8571" y="57011"/>
                      <a:pt x="8571" y="57011"/>
                      <a:pt x="8571" y="57011"/>
                    </a:cubicBezTo>
                    <a:cubicBezTo>
                      <a:pt x="7012" y="59770"/>
                      <a:pt x="7012" y="59770"/>
                      <a:pt x="7012" y="59770"/>
                    </a:cubicBezTo>
                    <a:cubicBezTo>
                      <a:pt x="5844" y="61149"/>
                      <a:pt x="5844" y="61149"/>
                      <a:pt x="5844" y="61149"/>
                    </a:cubicBezTo>
                    <a:cubicBezTo>
                      <a:pt x="5454" y="62528"/>
                      <a:pt x="5454" y="62528"/>
                      <a:pt x="5454" y="62528"/>
                    </a:cubicBezTo>
                    <a:cubicBezTo>
                      <a:pt x="4285" y="64827"/>
                      <a:pt x="4285" y="64827"/>
                      <a:pt x="4285" y="64827"/>
                    </a:cubicBezTo>
                    <a:cubicBezTo>
                      <a:pt x="1948" y="68045"/>
                      <a:pt x="1948" y="68045"/>
                      <a:pt x="1948" y="68045"/>
                    </a:cubicBezTo>
                    <a:cubicBezTo>
                      <a:pt x="1168" y="69885"/>
                      <a:pt x="1168" y="69885"/>
                      <a:pt x="1168" y="69885"/>
                    </a:cubicBezTo>
                    <a:cubicBezTo>
                      <a:pt x="1948" y="73563"/>
                      <a:pt x="1948" y="73563"/>
                      <a:pt x="1948" y="73563"/>
                    </a:cubicBezTo>
                    <a:cubicBezTo>
                      <a:pt x="1948" y="74482"/>
                      <a:pt x="1948" y="74482"/>
                      <a:pt x="1948" y="74482"/>
                    </a:cubicBezTo>
                    <a:cubicBezTo>
                      <a:pt x="1948" y="75402"/>
                      <a:pt x="1948" y="75402"/>
                      <a:pt x="1948" y="75402"/>
                    </a:cubicBezTo>
                    <a:cubicBezTo>
                      <a:pt x="1558" y="75862"/>
                      <a:pt x="1558" y="75862"/>
                      <a:pt x="1558" y="75862"/>
                    </a:cubicBezTo>
                    <a:cubicBezTo>
                      <a:pt x="1168" y="77701"/>
                      <a:pt x="1168" y="77701"/>
                      <a:pt x="1168" y="77701"/>
                    </a:cubicBezTo>
                    <a:cubicBezTo>
                      <a:pt x="389" y="78160"/>
                      <a:pt x="389" y="78160"/>
                      <a:pt x="389" y="78160"/>
                    </a:cubicBezTo>
                    <a:cubicBezTo>
                      <a:pt x="389" y="80000"/>
                      <a:pt x="389" y="80000"/>
                      <a:pt x="389" y="80000"/>
                    </a:cubicBezTo>
                    <a:cubicBezTo>
                      <a:pt x="0" y="83678"/>
                      <a:pt x="0" y="83678"/>
                      <a:pt x="0" y="83678"/>
                    </a:cubicBezTo>
                    <a:cubicBezTo>
                      <a:pt x="0" y="85977"/>
                      <a:pt x="0" y="85977"/>
                      <a:pt x="0" y="85977"/>
                    </a:cubicBezTo>
                    <a:cubicBezTo>
                      <a:pt x="779" y="87356"/>
                      <a:pt x="779" y="87356"/>
                      <a:pt x="779" y="87356"/>
                    </a:cubicBezTo>
                    <a:cubicBezTo>
                      <a:pt x="1168" y="88735"/>
                      <a:pt x="1168" y="88735"/>
                      <a:pt x="1168" y="88735"/>
                    </a:cubicBezTo>
                    <a:cubicBezTo>
                      <a:pt x="57272" y="107586"/>
                      <a:pt x="57272" y="107586"/>
                      <a:pt x="57272" y="107586"/>
                    </a:cubicBezTo>
                    <a:cubicBezTo>
                      <a:pt x="57272" y="107586"/>
                      <a:pt x="84155" y="116321"/>
                      <a:pt x="93116" y="118620"/>
                    </a:cubicBezTo>
                    <a:cubicBezTo>
                      <a:pt x="94285" y="119080"/>
                      <a:pt x="95844" y="119540"/>
                      <a:pt x="97792" y="120000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65" name="Shape 1400">
                <a:extLst>
                  <a:ext uri="{FF2B5EF4-FFF2-40B4-BE49-F238E27FC236}">
                    <a16:creationId xmlns:a16="http://schemas.microsoft.com/office/drawing/2014/main" id="{3CC7E2A1-C722-4EF3-8F68-41E96C42019F}"/>
                  </a:ext>
                </a:extLst>
              </p:cNvPr>
              <p:cNvSpPr/>
              <p:nvPr/>
            </p:nvSpPr>
            <p:spPr>
              <a:xfrm>
                <a:off x="5633689" y="1468482"/>
                <a:ext cx="788225" cy="1290900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25263" y="42466"/>
                    </a:moveTo>
                    <a:cubicBezTo>
                      <a:pt x="25263" y="44396"/>
                      <a:pt x="24210" y="46005"/>
                      <a:pt x="24210" y="46005"/>
                    </a:cubicBezTo>
                    <a:cubicBezTo>
                      <a:pt x="24210" y="47292"/>
                      <a:pt x="24210" y="47292"/>
                      <a:pt x="24210" y="47292"/>
                    </a:cubicBezTo>
                    <a:cubicBezTo>
                      <a:pt x="25789" y="48900"/>
                      <a:pt x="25789" y="48900"/>
                      <a:pt x="25789" y="48900"/>
                    </a:cubicBezTo>
                    <a:cubicBezTo>
                      <a:pt x="28421" y="50187"/>
                      <a:pt x="28421" y="50187"/>
                      <a:pt x="28421" y="50187"/>
                    </a:cubicBezTo>
                    <a:cubicBezTo>
                      <a:pt x="29473" y="51152"/>
                      <a:pt x="29473" y="51152"/>
                      <a:pt x="29473" y="51152"/>
                    </a:cubicBezTo>
                    <a:cubicBezTo>
                      <a:pt x="29999" y="52439"/>
                      <a:pt x="29999" y="52439"/>
                      <a:pt x="29999" y="52439"/>
                    </a:cubicBezTo>
                    <a:cubicBezTo>
                      <a:pt x="29999" y="53726"/>
                      <a:pt x="29999" y="53726"/>
                      <a:pt x="29999" y="53726"/>
                    </a:cubicBezTo>
                    <a:cubicBezTo>
                      <a:pt x="28421" y="54048"/>
                      <a:pt x="28421" y="54048"/>
                      <a:pt x="28421" y="54048"/>
                    </a:cubicBezTo>
                    <a:cubicBezTo>
                      <a:pt x="27894" y="55656"/>
                      <a:pt x="27894" y="55656"/>
                      <a:pt x="27894" y="55656"/>
                    </a:cubicBezTo>
                    <a:cubicBezTo>
                      <a:pt x="25789" y="56621"/>
                      <a:pt x="25789" y="56621"/>
                      <a:pt x="25789" y="56621"/>
                    </a:cubicBezTo>
                    <a:cubicBezTo>
                      <a:pt x="24210" y="57908"/>
                      <a:pt x="24210" y="57908"/>
                      <a:pt x="24210" y="57908"/>
                    </a:cubicBezTo>
                    <a:cubicBezTo>
                      <a:pt x="22105" y="59195"/>
                      <a:pt x="22105" y="59195"/>
                      <a:pt x="22105" y="59195"/>
                    </a:cubicBezTo>
                    <a:cubicBezTo>
                      <a:pt x="21052" y="60804"/>
                      <a:pt x="21052" y="60804"/>
                      <a:pt x="21052" y="60804"/>
                    </a:cubicBezTo>
                    <a:cubicBezTo>
                      <a:pt x="20000" y="61126"/>
                      <a:pt x="20000" y="61126"/>
                      <a:pt x="20000" y="61126"/>
                    </a:cubicBezTo>
                    <a:cubicBezTo>
                      <a:pt x="19473" y="62412"/>
                      <a:pt x="19473" y="62412"/>
                      <a:pt x="19473" y="62412"/>
                    </a:cubicBezTo>
                    <a:cubicBezTo>
                      <a:pt x="17894" y="63699"/>
                      <a:pt x="17894" y="63699"/>
                      <a:pt x="17894" y="63699"/>
                    </a:cubicBezTo>
                    <a:cubicBezTo>
                      <a:pt x="13684" y="66273"/>
                      <a:pt x="13684" y="66273"/>
                      <a:pt x="13684" y="66273"/>
                    </a:cubicBezTo>
                    <a:cubicBezTo>
                      <a:pt x="10526" y="67882"/>
                      <a:pt x="10526" y="67882"/>
                      <a:pt x="10526" y="67882"/>
                    </a:cubicBezTo>
                    <a:cubicBezTo>
                      <a:pt x="10000" y="68847"/>
                      <a:pt x="10000" y="68847"/>
                      <a:pt x="10000" y="68847"/>
                    </a:cubicBezTo>
                    <a:cubicBezTo>
                      <a:pt x="9473" y="70455"/>
                      <a:pt x="9473" y="70455"/>
                      <a:pt x="9473" y="70455"/>
                    </a:cubicBezTo>
                    <a:cubicBezTo>
                      <a:pt x="10526" y="71420"/>
                      <a:pt x="10526" y="71420"/>
                      <a:pt x="10526" y="71420"/>
                    </a:cubicBezTo>
                    <a:cubicBezTo>
                      <a:pt x="11578" y="71742"/>
                      <a:pt x="11578" y="71742"/>
                      <a:pt x="11578" y="71742"/>
                    </a:cubicBezTo>
                    <a:cubicBezTo>
                      <a:pt x="12105" y="71742"/>
                      <a:pt x="12105" y="71742"/>
                      <a:pt x="12105" y="71742"/>
                    </a:cubicBezTo>
                    <a:cubicBezTo>
                      <a:pt x="13684" y="72707"/>
                      <a:pt x="13684" y="72707"/>
                      <a:pt x="13684" y="72707"/>
                    </a:cubicBezTo>
                    <a:cubicBezTo>
                      <a:pt x="13157" y="73351"/>
                      <a:pt x="13157" y="73351"/>
                      <a:pt x="13157" y="73351"/>
                    </a:cubicBezTo>
                    <a:cubicBezTo>
                      <a:pt x="13157" y="75924"/>
                      <a:pt x="13157" y="75924"/>
                      <a:pt x="13157" y="75924"/>
                    </a:cubicBezTo>
                    <a:cubicBezTo>
                      <a:pt x="12631" y="77211"/>
                      <a:pt x="12631" y="77211"/>
                      <a:pt x="12631" y="77211"/>
                    </a:cubicBezTo>
                    <a:cubicBezTo>
                      <a:pt x="12631" y="77855"/>
                      <a:pt x="12631" y="77855"/>
                      <a:pt x="12631" y="77855"/>
                    </a:cubicBezTo>
                    <a:cubicBezTo>
                      <a:pt x="10000" y="78498"/>
                      <a:pt x="10000" y="78498"/>
                      <a:pt x="10000" y="78498"/>
                    </a:cubicBezTo>
                    <a:cubicBezTo>
                      <a:pt x="9473" y="79142"/>
                      <a:pt x="9473" y="79142"/>
                      <a:pt x="9473" y="79142"/>
                    </a:cubicBezTo>
                    <a:cubicBezTo>
                      <a:pt x="9473" y="80750"/>
                      <a:pt x="9473" y="80750"/>
                      <a:pt x="9473" y="80750"/>
                    </a:cubicBezTo>
                    <a:cubicBezTo>
                      <a:pt x="0" y="106166"/>
                      <a:pt x="0" y="106166"/>
                      <a:pt x="0" y="106166"/>
                    </a:cubicBezTo>
                    <a:cubicBezTo>
                      <a:pt x="18421" y="108739"/>
                      <a:pt x="53684" y="113243"/>
                      <a:pt x="53684" y="113243"/>
                    </a:cubicBezTo>
                    <a:cubicBezTo>
                      <a:pt x="109473" y="119999"/>
                      <a:pt x="109473" y="119999"/>
                      <a:pt x="109473" y="119999"/>
                    </a:cubicBezTo>
                    <a:cubicBezTo>
                      <a:pt x="119999" y="82359"/>
                      <a:pt x="119999" y="82359"/>
                      <a:pt x="119999" y="82359"/>
                    </a:cubicBezTo>
                    <a:cubicBezTo>
                      <a:pt x="118947" y="81715"/>
                      <a:pt x="118947" y="81715"/>
                      <a:pt x="118947" y="81715"/>
                    </a:cubicBezTo>
                    <a:cubicBezTo>
                      <a:pt x="117894" y="81072"/>
                      <a:pt x="117894" y="81072"/>
                      <a:pt x="117894" y="81072"/>
                    </a:cubicBezTo>
                    <a:cubicBezTo>
                      <a:pt x="117894" y="80750"/>
                      <a:pt x="117894" y="80750"/>
                      <a:pt x="117894" y="80750"/>
                    </a:cubicBezTo>
                    <a:cubicBezTo>
                      <a:pt x="117368" y="79463"/>
                      <a:pt x="117368" y="79463"/>
                      <a:pt x="117368" y="79463"/>
                    </a:cubicBezTo>
                    <a:cubicBezTo>
                      <a:pt x="116315" y="78498"/>
                      <a:pt x="116315" y="78498"/>
                      <a:pt x="116315" y="78498"/>
                    </a:cubicBezTo>
                    <a:cubicBezTo>
                      <a:pt x="114736" y="77533"/>
                      <a:pt x="114736" y="77533"/>
                      <a:pt x="114736" y="77533"/>
                    </a:cubicBezTo>
                    <a:cubicBezTo>
                      <a:pt x="112631" y="77533"/>
                      <a:pt x="112631" y="77533"/>
                      <a:pt x="112631" y="77533"/>
                    </a:cubicBezTo>
                    <a:cubicBezTo>
                      <a:pt x="112105" y="79142"/>
                      <a:pt x="112105" y="79142"/>
                      <a:pt x="112105" y="79142"/>
                    </a:cubicBezTo>
                    <a:cubicBezTo>
                      <a:pt x="111578" y="80107"/>
                      <a:pt x="111578" y="80107"/>
                      <a:pt x="111578" y="80107"/>
                    </a:cubicBezTo>
                    <a:cubicBezTo>
                      <a:pt x="106315" y="79785"/>
                      <a:pt x="106315" y="79785"/>
                      <a:pt x="106315" y="79785"/>
                    </a:cubicBezTo>
                    <a:cubicBezTo>
                      <a:pt x="103684" y="79142"/>
                      <a:pt x="103684" y="79142"/>
                      <a:pt x="103684" y="79142"/>
                    </a:cubicBezTo>
                    <a:cubicBezTo>
                      <a:pt x="99473" y="78820"/>
                      <a:pt x="99473" y="78820"/>
                      <a:pt x="99473" y="78820"/>
                    </a:cubicBezTo>
                    <a:cubicBezTo>
                      <a:pt x="97368" y="78820"/>
                      <a:pt x="97368" y="78820"/>
                      <a:pt x="97368" y="78820"/>
                    </a:cubicBezTo>
                    <a:cubicBezTo>
                      <a:pt x="96842" y="79463"/>
                      <a:pt x="96842" y="79463"/>
                      <a:pt x="96842" y="79463"/>
                    </a:cubicBezTo>
                    <a:cubicBezTo>
                      <a:pt x="96842" y="80107"/>
                      <a:pt x="96842" y="80107"/>
                      <a:pt x="96842" y="80107"/>
                    </a:cubicBezTo>
                    <a:cubicBezTo>
                      <a:pt x="94210" y="79463"/>
                      <a:pt x="94210" y="79463"/>
                      <a:pt x="94210" y="79463"/>
                    </a:cubicBezTo>
                    <a:cubicBezTo>
                      <a:pt x="91578" y="78498"/>
                      <a:pt x="91578" y="78498"/>
                      <a:pt x="91578" y="78498"/>
                    </a:cubicBezTo>
                    <a:cubicBezTo>
                      <a:pt x="89999" y="78498"/>
                      <a:pt x="89999" y="78498"/>
                      <a:pt x="89999" y="78498"/>
                    </a:cubicBezTo>
                    <a:cubicBezTo>
                      <a:pt x="88947" y="78498"/>
                      <a:pt x="88947" y="78498"/>
                      <a:pt x="88947" y="78498"/>
                    </a:cubicBezTo>
                    <a:cubicBezTo>
                      <a:pt x="88421" y="79463"/>
                      <a:pt x="88421" y="79463"/>
                      <a:pt x="88421" y="79463"/>
                    </a:cubicBezTo>
                    <a:cubicBezTo>
                      <a:pt x="88421" y="80107"/>
                      <a:pt x="88421" y="80107"/>
                      <a:pt x="88421" y="80107"/>
                    </a:cubicBezTo>
                    <a:cubicBezTo>
                      <a:pt x="86315" y="80107"/>
                      <a:pt x="86315" y="80107"/>
                      <a:pt x="86315" y="80107"/>
                    </a:cubicBezTo>
                    <a:cubicBezTo>
                      <a:pt x="85263" y="78820"/>
                      <a:pt x="85263" y="78820"/>
                      <a:pt x="85263" y="78820"/>
                    </a:cubicBezTo>
                    <a:cubicBezTo>
                      <a:pt x="85263" y="77855"/>
                      <a:pt x="85263" y="77855"/>
                      <a:pt x="85263" y="77855"/>
                    </a:cubicBezTo>
                    <a:cubicBezTo>
                      <a:pt x="85263" y="76568"/>
                      <a:pt x="85263" y="76568"/>
                      <a:pt x="85263" y="76568"/>
                    </a:cubicBezTo>
                    <a:cubicBezTo>
                      <a:pt x="84210" y="74638"/>
                      <a:pt x="84210" y="74638"/>
                      <a:pt x="84210" y="74638"/>
                    </a:cubicBezTo>
                    <a:cubicBezTo>
                      <a:pt x="84210" y="72707"/>
                      <a:pt x="84210" y="72707"/>
                      <a:pt x="84210" y="72707"/>
                    </a:cubicBezTo>
                    <a:cubicBezTo>
                      <a:pt x="82105" y="72707"/>
                      <a:pt x="82105" y="72707"/>
                      <a:pt x="82105" y="72707"/>
                    </a:cubicBezTo>
                    <a:cubicBezTo>
                      <a:pt x="79473" y="71742"/>
                      <a:pt x="79473" y="71742"/>
                      <a:pt x="79473" y="71742"/>
                    </a:cubicBezTo>
                    <a:cubicBezTo>
                      <a:pt x="78421" y="70777"/>
                      <a:pt x="78421" y="70777"/>
                      <a:pt x="78421" y="70777"/>
                    </a:cubicBezTo>
                    <a:cubicBezTo>
                      <a:pt x="78421" y="70134"/>
                      <a:pt x="78421" y="70134"/>
                      <a:pt x="78421" y="70134"/>
                    </a:cubicBezTo>
                    <a:cubicBezTo>
                      <a:pt x="78421" y="68525"/>
                      <a:pt x="78421" y="68525"/>
                      <a:pt x="78421" y="68525"/>
                    </a:cubicBezTo>
                    <a:cubicBezTo>
                      <a:pt x="78421" y="66916"/>
                      <a:pt x="78421" y="66916"/>
                      <a:pt x="78421" y="66916"/>
                    </a:cubicBezTo>
                    <a:cubicBezTo>
                      <a:pt x="76315" y="65630"/>
                      <a:pt x="76315" y="65630"/>
                      <a:pt x="76315" y="65630"/>
                    </a:cubicBezTo>
                    <a:cubicBezTo>
                      <a:pt x="76315" y="64664"/>
                      <a:pt x="76315" y="64664"/>
                      <a:pt x="76315" y="64664"/>
                    </a:cubicBezTo>
                    <a:cubicBezTo>
                      <a:pt x="76315" y="62734"/>
                      <a:pt x="76315" y="62734"/>
                      <a:pt x="76315" y="62734"/>
                    </a:cubicBezTo>
                    <a:cubicBezTo>
                      <a:pt x="75789" y="60160"/>
                      <a:pt x="75789" y="60160"/>
                      <a:pt x="75789" y="60160"/>
                    </a:cubicBezTo>
                    <a:cubicBezTo>
                      <a:pt x="74736" y="58873"/>
                      <a:pt x="74736" y="58873"/>
                      <a:pt x="74736" y="58873"/>
                    </a:cubicBezTo>
                    <a:cubicBezTo>
                      <a:pt x="74210" y="57587"/>
                      <a:pt x="74210" y="57587"/>
                      <a:pt x="74210" y="57587"/>
                    </a:cubicBezTo>
                    <a:cubicBezTo>
                      <a:pt x="73157" y="57587"/>
                      <a:pt x="73157" y="57587"/>
                      <a:pt x="73157" y="57587"/>
                    </a:cubicBezTo>
                    <a:cubicBezTo>
                      <a:pt x="71052" y="58552"/>
                      <a:pt x="71052" y="58552"/>
                      <a:pt x="71052" y="58552"/>
                    </a:cubicBezTo>
                    <a:cubicBezTo>
                      <a:pt x="70000" y="58552"/>
                      <a:pt x="70000" y="58552"/>
                      <a:pt x="70000" y="58552"/>
                    </a:cubicBezTo>
                    <a:cubicBezTo>
                      <a:pt x="68421" y="58873"/>
                      <a:pt x="68421" y="58873"/>
                      <a:pt x="68421" y="58873"/>
                    </a:cubicBezTo>
                    <a:cubicBezTo>
                      <a:pt x="66842" y="59839"/>
                      <a:pt x="66842" y="59839"/>
                      <a:pt x="66842" y="59839"/>
                    </a:cubicBezTo>
                    <a:cubicBezTo>
                      <a:pt x="65789" y="59839"/>
                      <a:pt x="65789" y="59839"/>
                      <a:pt x="65789" y="59839"/>
                    </a:cubicBezTo>
                    <a:cubicBezTo>
                      <a:pt x="65789" y="58873"/>
                      <a:pt x="65789" y="58873"/>
                      <a:pt x="65789" y="58873"/>
                    </a:cubicBezTo>
                    <a:cubicBezTo>
                      <a:pt x="63684" y="58230"/>
                      <a:pt x="63684" y="58230"/>
                      <a:pt x="63684" y="58230"/>
                    </a:cubicBezTo>
                    <a:cubicBezTo>
                      <a:pt x="62631" y="57587"/>
                      <a:pt x="62631" y="57587"/>
                      <a:pt x="62631" y="57587"/>
                    </a:cubicBezTo>
                    <a:cubicBezTo>
                      <a:pt x="64210" y="55335"/>
                      <a:pt x="64210" y="55335"/>
                      <a:pt x="64210" y="55335"/>
                    </a:cubicBezTo>
                    <a:cubicBezTo>
                      <a:pt x="65789" y="54048"/>
                      <a:pt x="65789" y="54048"/>
                      <a:pt x="65789" y="54048"/>
                    </a:cubicBezTo>
                    <a:cubicBezTo>
                      <a:pt x="67368" y="54048"/>
                      <a:pt x="67368" y="54048"/>
                      <a:pt x="67368" y="54048"/>
                    </a:cubicBezTo>
                    <a:cubicBezTo>
                      <a:pt x="67894" y="53404"/>
                      <a:pt x="67894" y="53404"/>
                      <a:pt x="67894" y="53404"/>
                    </a:cubicBezTo>
                    <a:cubicBezTo>
                      <a:pt x="66842" y="51474"/>
                      <a:pt x="66842" y="51474"/>
                      <a:pt x="66842" y="51474"/>
                    </a:cubicBezTo>
                    <a:cubicBezTo>
                      <a:pt x="67368" y="49544"/>
                      <a:pt x="67368" y="49544"/>
                      <a:pt x="67368" y="49544"/>
                    </a:cubicBezTo>
                    <a:cubicBezTo>
                      <a:pt x="68947" y="47292"/>
                      <a:pt x="68947" y="47292"/>
                      <a:pt x="68947" y="47292"/>
                    </a:cubicBezTo>
                    <a:cubicBezTo>
                      <a:pt x="70526" y="45361"/>
                      <a:pt x="70526" y="45361"/>
                      <a:pt x="70526" y="45361"/>
                    </a:cubicBezTo>
                    <a:cubicBezTo>
                      <a:pt x="72105" y="43431"/>
                      <a:pt x="72105" y="43431"/>
                      <a:pt x="72105" y="43431"/>
                    </a:cubicBezTo>
                    <a:cubicBezTo>
                      <a:pt x="72105" y="42144"/>
                      <a:pt x="72105" y="42144"/>
                      <a:pt x="72105" y="42144"/>
                    </a:cubicBezTo>
                    <a:cubicBezTo>
                      <a:pt x="67368" y="41501"/>
                      <a:pt x="67368" y="41501"/>
                      <a:pt x="67368" y="41501"/>
                    </a:cubicBezTo>
                    <a:cubicBezTo>
                      <a:pt x="67368" y="41179"/>
                      <a:pt x="67368" y="41179"/>
                      <a:pt x="67368" y="41179"/>
                    </a:cubicBezTo>
                    <a:cubicBezTo>
                      <a:pt x="65789" y="39892"/>
                      <a:pt x="65789" y="39892"/>
                      <a:pt x="65789" y="39892"/>
                    </a:cubicBezTo>
                    <a:cubicBezTo>
                      <a:pt x="64736" y="37962"/>
                      <a:pt x="64736" y="37962"/>
                      <a:pt x="64736" y="37962"/>
                    </a:cubicBezTo>
                    <a:cubicBezTo>
                      <a:pt x="64210" y="35710"/>
                      <a:pt x="64210" y="35710"/>
                      <a:pt x="64210" y="35710"/>
                    </a:cubicBezTo>
                    <a:cubicBezTo>
                      <a:pt x="62631" y="34101"/>
                      <a:pt x="62631" y="34101"/>
                      <a:pt x="62631" y="34101"/>
                    </a:cubicBezTo>
                    <a:cubicBezTo>
                      <a:pt x="59999" y="32493"/>
                      <a:pt x="59999" y="32493"/>
                      <a:pt x="59999" y="32493"/>
                    </a:cubicBezTo>
                    <a:cubicBezTo>
                      <a:pt x="57368" y="29919"/>
                      <a:pt x="57368" y="29919"/>
                      <a:pt x="57368" y="29919"/>
                    </a:cubicBezTo>
                    <a:cubicBezTo>
                      <a:pt x="56842" y="28310"/>
                      <a:pt x="56842" y="28310"/>
                      <a:pt x="56842" y="28310"/>
                    </a:cubicBezTo>
                    <a:cubicBezTo>
                      <a:pt x="54736" y="26380"/>
                      <a:pt x="54736" y="26380"/>
                      <a:pt x="54736" y="26380"/>
                    </a:cubicBezTo>
                    <a:cubicBezTo>
                      <a:pt x="54736" y="25415"/>
                      <a:pt x="54736" y="25415"/>
                      <a:pt x="54736" y="25415"/>
                    </a:cubicBezTo>
                    <a:cubicBezTo>
                      <a:pt x="53157" y="24450"/>
                      <a:pt x="53157" y="24450"/>
                      <a:pt x="53157" y="24450"/>
                    </a:cubicBezTo>
                    <a:cubicBezTo>
                      <a:pt x="53157" y="23163"/>
                      <a:pt x="53157" y="23163"/>
                      <a:pt x="53157" y="23163"/>
                    </a:cubicBezTo>
                    <a:cubicBezTo>
                      <a:pt x="53157" y="22198"/>
                      <a:pt x="53157" y="22198"/>
                      <a:pt x="53157" y="22198"/>
                    </a:cubicBezTo>
                    <a:cubicBezTo>
                      <a:pt x="52105" y="20589"/>
                      <a:pt x="52105" y="20589"/>
                      <a:pt x="52105" y="20589"/>
                    </a:cubicBezTo>
                    <a:cubicBezTo>
                      <a:pt x="51052" y="19946"/>
                      <a:pt x="51052" y="19946"/>
                      <a:pt x="51052" y="19946"/>
                    </a:cubicBezTo>
                    <a:cubicBezTo>
                      <a:pt x="51052" y="18981"/>
                      <a:pt x="51052" y="18981"/>
                      <a:pt x="51052" y="18981"/>
                    </a:cubicBezTo>
                    <a:cubicBezTo>
                      <a:pt x="51578" y="15442"/>
                      <a:pt x="51578" y="15442"/>
                      <a:pt x="51578" y="15442"/>
                    </a:cubicBezTo>
                    <a:cubicBezTo>
                      <a:pt x="53157" y="11581"/>
                      <a:pt x="53157" y="11581"/>
                      <a:pt x="53157" y="11581"/>
                    </a:cubicBezTo>
                    <a:cubicBezTo>
                      <a:pt x="54736" y="8042"/>
                      <a:pt x="54736" y="8042"/>
                      <a:pt x="54736" y="8042"/>
                    </a:cubicBezTo>
                    <a:cubicBezTo>
                      <a:pt x="55789" y="5790"/>
                      <a:pt x="55789" y="5790"/>
                      <a:pt x="55789" y="5790"/>
                    </a:cubicBezTo>
                    <a:cubicBezTo>
                      <a:pt x="56842" y="2573"/>
                      <a:pt x="56842" y="2573"/>
                      <a:pt x="56842" y="2573"/>
                    </a:cubicBezTo>
                    <a:cubicBezTo>
                      <a:pt x="40000" y="0"/>
                      <a:pt x="40000" y="0"/>
                      <a:pt x="40000" y="0"/>
                    </a:cubicBezTo>
                    <a:cubicBezTo>
                      <a:pt x="40000" y="0"/>
                      <a:pt x="27368" y="36675"/>
                      <a:pt x="24736" y="38605"/>
                    </a:cubicBezTo>
                    <a:cubicBezTo>
                      <a:pt x="22631" y="40857"/>
                      <a:pt x="25263" y="40214"/>
                      <a:pt x="25263" y="42466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66" name="Shape 1401">
                <a:extLst>
                  <a:ext uri="{FF2B5EF4-FFF2-40B4-BE49-F238E27FC236}">
                    <a16:creationId xmlns:a16="http://schemas.microsoft.com/office/drawing/2014/main" id="{F19B7D31-16CC-4DE9-817E-77711E51C000}"/>
                  </a:ext>
                </a:extLst>
              </p:cNvPr>
              <p:cNvSpPr/>
              <p:nvPr/>
            </p:nvSpPr>
            <p:spPr>
              <a:xfrm>
                <a:off x="5968585" y="1497078"/>
                <a:ext cx="1351825" cy="874219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20000" y="28571"/>
                    </a:moveTo>
                    <a:cubicBezTo>
                      <a:pt x="120000" y="28571"/>
                      <a:pt x="74578" y="20000"/>
                      <a:pt x="56470" y="15714"/>
                    </a:cubicBezTo>
                    <a:cubicBezTo>
                      <a:pt x="34373" y="10476"/>
                      <a:pt x="3375" y="0"/>
                      <a:pt x="3375" y="0"/>
                    </a:cubicBezTo>
                    <a:cubicBezTo>
                      <a:pt x="2762" y="4761"/>
                      <a:pt x="2762" y="4761"/>
                      <a:pt x="2762" y="4761"/>
                    </a:cubicBezTo>
                    <a:cubicBezTo>
                      <a:pt x="2148" y="8095"/>
                      <a:pt x="2148" y="8095"/>
                      <a:pt x="2148" y="8095"/>
                    </a:cubicBezTo>
                    <a:cubicBezTo>
                      <a:pt x="1227" y="13333"/>
                      <a:pt x="1227" y="13333"/>
                      <a:pt x="1227" y="13333"/>
                    </a:cubicBezTo>
                    <a:cubicBezTo>
                      <a:pt x="306" y="19047"/>
                      <a:pt x="306" y="19047"/>
                      <a:pt x="306" y="19047"/>
                    </a:cubicBezTo>
                    <a:cubicBezTo>
                      <a:pt x="0" y="24285"/>
                      <a:pt x="0" y="24285"/>
                      <a:pt x="0" y="24285"/>
                    </a:cubicBezTo>
                    <a:cubicBezTo>
                      <a:pt x="0" y="25714"/>
                      <a:pt x="0" y="25714"/>
                      <a:pt x="0" y="25714"/>
                    </a:cubicBezTo>
                    <a:cubicBezTo>
                      <a:pt x="613" y="26666"/>
                      <a:pt x="613" y="26666"/>
                      <a:pt x="613" y="26666"/>
                    </a:cubicBezTo>
                    <a:cubicBezTo>
                      <a:pt x="1227" y="29047"/>
                      <a:pt x="1227" y="29047"/>
                      <a:pt x="1227" y="29047"/>
                    </a:cubicBezTo>
                    <a:cubicBezTo>
                      <a:pt x="1227" y="30476"/>
                      <a:pt x="1227" y="30476"/>
                      <a:pt x="1227" y="30476"/>
                    </a:cubicBezTo>
                    <a:cubicBezTo>
                      <a:pt x="1227" y="32380"/>
                      <a:pt x="1227" y="32380"/>
                      <a:pt x="1227" y="32380"/>
                    </a:cubicBezTo>
                    <a:cubicBezTo>
                      <a:pt x="2148" y="33809"/>
                      <a:pt x="2148" y="33809"/>
                      <a:pt x="2148" y="33809"/>
                    </a:cubicBezTo>
                    <a:cubicBezTo>
                      <a:pt x="2148" y="35238"/>
                      <a:pt x="2148" y="35238"/>
                      <a:pt x="2148" y="35238"/>
                    </a:cubicBezTo>
                    <a:cubicBezTo>
                      <a:pt x="3375" y="38095"/>
                      <a:pt x="3375" y="38095"/>
                      <a:pt x="3375" y="38095"/>
                    </a:cubicBezTo>
                    <a:cubicBezTo>
                      <a:pt x="3682" y="40476"/>
                      <a:pt x="3682" y="40476"/>
                      <a:pt x="3682" y="40476"/>
                    </a:cubicBezTo>
                    <a:cubicBezTo>
                      <a:pt x="5217" y="44285"/>
                      <a:pt x="5217" y="44285"/>
                      <a:pt x="5217" y="44285"/>
                    </a:cubicBezTo>
                    <a:cubicBezTo>
                      <a:pt x="6751" y="46666"/>
                      <a:pt x="6751" y="46666"/>
                      <a:pt x="6751" y="46666"/>
                    </a:cubicBezTo>
                    <a:cubicBezTo>
                      <a:pt x="7672" y="49047"/>
                      <a:pt x="7672" y="49047"/>
                      <a:pt x="7672" y="49047"/>
                    </a:cubicBezTo>
                    <a:cubicBezTo>
                      <a:pt x="7979" y="52380"/>
                      <a:pt x="7979" y="52380"/>
                      <a:pt x="7979" y="52380"/>
                    </a:cubicBezTo>
                    <a:cubicBezTo>
                      <a:pt x="8593" y="55238"/>
                      <a:pt x="8593" y="55238"/>
                      <a:pt x="8593" y="55238"/>
                    </a:cubicBezTo>
                    <a:cubicBezTo>
                      <a:pt x="9514" y="57142"/>
                      <a:pt x="9514" y="57142"/>
                      <a:pt x="9514" y="57142"/>
                    </a:cubicBezTo>
                    <a:cubicBezTo>
                      <a:pt x="9514" y="57619"/>
                      <a:pt x="9514" y="57619"/>
                      <a:pt x="9514" y="57619"/>
                    </a:cubicBezTo>
                    <a:cubicBezTo>
                      <a:pt x="12276" y="58571"/>
                      <a:pt x="12276" y="58571"/>
                      <a:pt x="12276" y="58571"/>
                    </a:cubicBezTo>
                    <a:cubicBezTo>
                      <a:pt x="12276" y="60476"/>
                      <a:pt x="12276" y="60476"/>
                      <a:pt x="12276" y="60476"/>
                    </a:cubicBezTo>
                    <a:cubicBezTo>
                      <a:pt x="11355" y="63333"/>
                      <a:pt x="11355" y="63333"/>
                      <a:pt x="11355" y="63333"/>
                    </a:cubicBezTo>
                    <a:cubicBezTo>
                      <a:pt x="10434" y="66190"/>
                      <a:pt x="10434" y="66190"/>
                      <a:pt x="10434" y="66190"/>
                    </a:cubicBezTo>
                    <a:cubicBezTo>
                      <a:pt x="9514" y="69523"/>
                      <a:pt x="9514" y="69523"/>
                      <a:pt x="9514" y="69523"/>
                    </a:cubicBezTo>
                    <a:cubicBezTo>
                      <a:pt x="9207" y="72380"/>
                      <a:pt x="9207" y="72380"/>
                      <a:pt x="9207" y="72380"/>
                    </a:cubicBezTo>
                    <a:cubicBezTo>
                      <a:pt x="9820" y="75238"/>
                      <a:pt x="9820" y="75238"/>
                      <a:pt x="9820" y="75238"/>
                    </a:cubicBezTo>
                    <a:cubicBezTo>
                      <a:pt x="9514" y="76190"/>
                      <a:pt x="9514" y="76190"/>
                      <a:pt x="9514" y="76190"/>
                    </a:cubicBezTo>
                    <a:cubicBezTo>
                      <a:pt x="8593" y="76190"/>
                      <a:pt x="8593" y="76190"/>
                      <a:pt x="8593" y="76190"/>
                    </a:cubicBezTo>
                    <a:cubicBezTo>
                      <a:pt x="7672" y="78095"/>
                      <a:pt x="7672" y="78095"/>
                      <a:pt x="7672" y="78095"/>
                    </a:cubicBezTo>
                    <a:cubicBezTo>
                      <a:pt x="6751" y="81428"/>
                      <a:pt x="6751" y="81428"/>
                      <a:pt x="6751" y="81428"/>
                    </a:cubicBezTo>
                    <a:cubicBezTo>
                      <a:pt x="7365" y="82380"/>
                      <a:pt x="7365" y="82380"/>
                      <a:pt x="7365" y="82380"/>
                    </a:cubicBezTo>
                    <a:cubicBezTo>
                      <a:pt x="8593" y="83333"/>
                      <a:pt x="8593" y="83333"/>
                      <a:pt x="8593" y="83333"/>
                    </a:cubicBezTo>
                    <a:cubicBezTo>
                      <a:pt x="8593" y="84761"/>
                      <a:pt x="8593" y="84761"/>
                      <a:pt x="8593" y="84761"/>
                    </a:cubicBezTo>
                    <a:cubicBezTo>
                      <a:pt x="9207" y="84761"/>
                      <a:pt x="9207" y="84761"/>
                      <a:pt x="9207" y="84761"/>
                    </a:cubicBezTo>
                    <a:cubicBezTo>
                      <a:pt x="10127" y="83333"/>
                      <a:pt x="10127" y="83333"/>
                      <a:pt x="10127" y="83333"/>
                    </a:cubicBezTo>
                    <a:cubicBezTo>
                      <a:pt x="11048" y="82857"/>
                      <a:pt x="11048" y="82857"/>
                      <a:pt x="11048" y="82857"/>
                    </a:cubicBezTo>
                    <a:cubicBezTo>
                      <a:pt x="11662" y="82857"/>
                      <a:pt x="11662" y="82857"/>
                      <a:pt x="11662" y="82857"/>
                    </a:cubicBezTo>
                    <a:cubicBezTo>
                      <a:pt x="12890" y="81428"/>
                      <a:pt x="12890" y="81428"/>
                      <a:pt x="12890" y="81428"/>
                    </a:cubicBezTo>
                    <a:cubicBezTo>
                      <a:pt x="13503" y="81428"/>
                      <a:pt x="13503" y="81428"/>
                      <a:pt x="13503" y="81428"/>
                    </a:cubicBezTo>
                    <a:cubicBezTo>
                      <a:pt x="13810" y="83333"/>
                      <a:pt x="13810" y="83333"/>
                      <a:pt x="13810" y="83333"/>
                    </a:cubicBezTo>
                    <a:cubicBezTo>
                      <a:pt x="14424" y="85238"/>
                      <a:pt x="14424" y="85238"/>
                      <a:pt x="14424" y="85238"/>
                    </a:cubicBezTo>
                    <a:cubicBezTo>
                      <a:pt x="14731" y="89047"/>
                      <a:pt x="14731" y="89047"/>
                      <a:pt x="14731" y="89047"/>
                    </a:cubicBezTo>
                    <a:cubicBezTo>
                      <a:pt x="14731" y="91904"/>
                      <a:pt x="14731" y="91904"/>
                      <a:pt x="14731" y="91904"/>
                    </a:cubicBezTo>
                    <a:cubicBezTo>
                      <a:pt x="14731" y="93333"/>
                      <a:pt x="14731" y="93333"/>
                      <a:pt x="14731" y="93333"/>
                    </a:cubicBezTo>
                    <a:cubicBezTo>
                      <a:pt x="15959" y="95238"/>
                      <a:pt x="15959" y="95238"/>
                      <a:pt x="15959" y="95238"/>
                    </a:cubicBezTo>
                    <a:cubicBezTo>
                      <a:pt x="15959" y="97619"/>
                      <a:pt x="15959" y="97619"/>
                      <a:pt x="15959" y="97619"/>
                    </a:cubicBezTo>
                    <a:cubicBezTo>
                      <a:pt x="15959" y="100000"/>
                      <a:pt x="15959" y="100000"/>
                      <a:pt x="15959" y="100000"/>
                    </a:cubicBezTo>
                    <a:cubicBezTo>
                      <a:pt x="15959" y="100952"/>
                      <a:pt x="15959" y="100952"/>
                      <a:pt x="15959" y="100952"/>
                    </a:cubicBezTo>
                    <a:cubicBezTo>
                      <a:pt x="16572" y="102380"/>
                      <a:pt x="16572" y="102380"/>
                      <a:pt x="16572" y="102380"/>
                    </a:cubicBezTo>
                    <a:cubicBezTo>
                      <a:pt x="18107" y="103809"/>
                      <a:pt x="18107" y="103809"/>
                      <a:pt x="18107" y="103809"/>
                    </a:cubicBezTo>
                    <a:cubicBezTo>
                      <a:pt x="19335" y="103809"/>
                      <a:pt x="19335" y="103809"/>
                      <a:pt x="19335" y="103809"/>
                    </a:cubicBezTo>
                    <a:cubicBezTo>
                      <a:pt x="19335" y="106666"/>
                      <a:pt x="19335" y="106666"/>
                      <a:pt x="19335" y="106666"/>
                    </a:cubicBezTo>
                    <a:cubicBezTo>
                      <a:pt x="19948" y="109523"/>
                      <a:pt x="19948" y="109523"/>
                      <a:pt x="19948" y="109523"/>
                    </a:cubicBezTo>
                    <a:cubicBezTo>
                      <a:pt x="19948" y="111428"/>
                      <a:pt x="19948" y="111428"/>
                      <a:pt x="19948" y="111428"/>
                    </a:cubicBezTo>
                    <a:cubicBezTo>
                      <a:pt x="19948" y="112857"/>
                      <a:pt x="19948" y="112857"/>
                      <a:pt x="19948" y="112857"/>
                    </a:cubicBezTo>
                    <a:cubicBezTo>
                      <a:pt x="20562" y="114761"/>
                      <a:pt x="20562" y="114761"/>
                      <a:pt x="20562" y="114761"/>
                    </a:cubicBezTo>
                    <a:cubicBezTo>
                      <a:pt x="21790" y="114761"/>
                      <a:pt x="21790" y="114761"/>
                      <a:pt x="21790" y="114761"/>
                    </a:cubicBezTo>
                    <a:cubicBezTo>
                      <a:pt x="21790" y="113809"/>
                      <a:pt x="21790" y="113809"/>
                      <a:pt x="21790" y="113809"/>
                    </a:cubicBezTo>
                    <a:cubicBezTo>
                      <a:pt x="22097" y="112380"/>
                      <a:pt x="22097" y="112380"/>
                      <a:pt x="22097" y="112380"/>
                    </a:cubicBezTo>
                    <a:cubicBezTo>
                      <a:pt x="22710" y="112380"/>
                      <a:pt x="22710" y="112380"/>
                      <a:pt x="22710" y="112380"/>
                    </a:cubicBezTo>
                    <a:cubicBezTo>
                      <a:pt x="23631" y="112380"/>
                      <a:pt x="23631" y="112380"/>
                      <a:pt x="23631" y="112380"/>
                    </a:cubicBezTo>
                    <a:cubicBezTo>
                      <a:pt x="25166" y="113809"/>
                      <a:pt x="25166" y="113809"/>
                      <a:pt x="25166" y="113809"/>
                    </a:cubicBezTo>
                    <a:cubicBezTo>
                      <a:pt x="26700" y="114761"/>
                      <a:pt x="26700" y="114761"/>
                      <a:pt x="26700" y="114761"/>
                    </a:cubicBezTo>
                    <a:cubicBezTo>
                      <a:pt x="26700" y="113809"/>
                      <a:pt x="26700" y="113809"/>
                      <a:pt x="26700" y="113809"/>
                    </a:cubicBezTo>
                    <a:cubicBezTo>
                      <a:pt x="27007" y="112857"/>
                      <a:pt x="27007" y="112857"/>
                      <a:pt x="27007" y="112857"/>
                    </a:cubicBezTo>
                    <a:cubicBezTo>
                      <a:pt x="28235" y="112857"/>
                      <a:pt x="28235" y="112857"/>
                      <a:pt x="28235" y="112857"/>
                    </a:cubicBezTo>
                    <a:cubicBezTo>
                      <a:pt x="30690" y="113333"/>
                      <a:pt x="30690" y="113333"/>
                      <a:pt x="30690" y="113333"/>
                    </a:cubicBezTo>
                    <a:cubicBezTo>
                      <a:pt x="32225" y="114285"/>
                      <a:pt x="32225" y="114285"/>
                      <a:pt x="32225" y="114285"/>
                    </a:cubicBezTo>
                    <a:cubicBezTo>
                      <a:pt x="35294" y="114761"/>
                      <a:pt x="35294" y="114761"/>
                      <a:pt x="35294" y="114761"/>
                    </a:cubicBezTo>
                    <a:cubicBezTo>
                      <a:pt x="35601" y="113333"/>
                      <a:pt x="35601" y="113333"/>
                      <a:pt x="35601" y="113333"/>
                    </a:cubicBezTo>
                    <a:cubicBezTo>
                      <a:pt x="35907" y="110952"/>
                      <a:pt x="35907" y="110952"/>
                      <a:pt x="35907" y="110952"/>
                    </a:cubicBezTo>
                    <a:cubicBezTo>
                      <a:pt x="37135" y="110952"/>
                      <a:pt x="37135" y="110952"/>
                      <a:pt x="37135" y="110952"/>
                    </a:cubicBezTo>
                    <a:cubicBezTo>
                      <a:pt x="38056" y="112380"/>
                      <a:pt x="38056" y="112380"/>
                      <a:pt x="38056" y="112380"/>
                    </a:cubicBezTo>
                    <a:cubicBezTo>
                      <a:pt x="38670" y="113809"/>
                      <a:pt x="38670" y="113809"/>
                      <a:pt x="38670" y="113809"/>
                    </a:cubicBezTo>
                    <a:cubicBezTo>
                      <a:pt x="38976" y="115714"/>
                      <a:pt x="38976" y="115714"/>
                      <a:pt x="38976" y="115714"/>
                    </a:cubicBezTo>
                    <a:cubicBezTo>
                      <a:pt x="38976" y="116190"/>
                      <a:pt x="38976" y="116190"/>
                      <a:pt x="38976" y="116190"/>
                    </a:cubicBezTo>
                    <a:cubicBezTo>
                      <a:pt x="39590" y="117142"/>
                      <a:pt x="39590" y="117142"/>
                      <a:pt x="39590" y="117142"/>
                    </a:cubicBezTo>
                    <a:cubicBezTo>
                      <a:pt x="40204" y="118095"/>
                      <a:pt x="40204" y="118095"/>
                      <a:pt x="40204" y="118095"/>
                    </a:cubicBezTo>
                    <a:cubicBezTo>
                      <a:pt x="41739" y="105238"/>
                      <a:pt x="41739" y="105238"/>
                      <a:pt x="41739" y="105238"/>
                    </a:cubicBezTo>
                    <a:cubicBezTo>
                      <a:pt x="114168" y="120000"/>
                      <a:pt x="114168" y="120000"/>
                      <a:pt x="114168" y="120000"/>
                    </a:cubicBezTo>
                    <a:cubicBezTo>
                      <a:pt x="114475" y="120000"/>
                      <a:pt x="114475" y="120000"/>
                      <a:pt x="114475" y="120000"/>
                    </a:cubicBezTo>
                    <a:cubicBezTo>
                      <a:pt x="115703" y="98571"/>
                      <a:pt x="115703" y="98571"/>
                      <a:pt x="115703" y="98571"/>
                    </a:cubicBezTo>
                    <a:lnTo>
                      <a:pt x="120000" y="28571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67" name="Shape 1402">
                <a:extLst>
                  <a:ext uri="{FF2B5EF4-FFF2-40B4-BE49-F238E27FC236}">
                    <a16:creationId xmlns:a16="http://schemas.microsoft.com/office/drawing/2014/main" id="{22BF8769-4798-4A3B-A022-E482ABCEA6C3}"/>
                  </a:ext>
                </a:extLst>
              </p:cNvPr>
              <p:cNvSpPr/>
              <p:nvPr/>
            </p:nvSpPr>
            <p:spPr>
              <a:xfrm>
                <a:off x="11106347" y="1603290"/>
                <a:ext cx="477837" cy="763918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33846" y="120000"/>
                    </a:moveTo>
                    <a:lnTo>
                      <a:pt x="33846" y="118716"/>
                    </a:lnTo>
                    <a:lnTo>
                      <a:pt x="34871" y="116791"/>
                    </a:lnTo>
                    <a:lnTo>
                      <a:pt x="34871" y="116149"/>
                    </a:lnTo>
                    <a:lnTo>
                      <a:pt x="34871" y="114224"/>
                    </a:lnTo>
                    <a:lnTo>
                      <a:pt x="34871" y="112941"/>
                    </a:lnTo>
                    <a:lnTo>
                      <a:pt x="35897" y="111657"/>
                    </a:lnTo>
                    <a:lnTo>
                      <a:pt x="37948" y="111657"/>
                    </a:lnTo>
                    <a:lnTo>
                      <a:pt x="37948" y="109732"/>
                    </a:lnTo>
                    <a:lnTo>
                      <a:pt x="38974" y="108449"/>
                    </a:lnTo>
                    <a:lnTo>
                      <a:pt x="38974" y="106524"/>
                    </a:lnTo>
                    <a:lnTo>
                      <a:pt x="41025" y="106524"/>
                    </a:lnTo>
                    <a:lnTo>
                      <a:pt x="42051" y="106524"/>
                    </a:lnTo>
                    <a:lnTo>
                      <a:pt x="45128" y="106524"/>
                    </a:lnTo>
                    <a:lnTo>
                      <a:pt x="45128" y="103315"/>
                    </a:lnTo>
                    <a:lnTo>
                      <a:pt x="42051" y="103315"/>
                    </a:lnTo>
                    <a:lnTo>
                      <a:pt x="41025" y="103315"/>
                    </a:lnTo>
                    <a:lnTo>
                      <a:pt x="41025" y="102032"/>
                    </a:lnTo>
                    <a:lnTo>
                      <a:pt x="41025" y="101390"/>
                    </a:lnTo>
                    <a:lnTo>
                      <a:pt x="43076" y="100106"/>
                    </a:lnTo>
                    <a:lnTo>
                      <a:pt x="43076" y="99465"/>
                    </a:lnTo>
                    <a:lnTo>
                      <a:pt x="45128" y="98181"/>
                    </a:lnTo>
                    <a:lnTo>
                      <a:pt x="46153" y="98823"/>
                    </a:lnTo>
                    <a:lnTo>
                      <a:pt x="46153" y="99465"/>
                    </a:lnTo>
                    <a:lnTo>
                      <a:pt x="48205" y="98823"/>
                    </a:lnTo>
                    <a:lnTo>
                      <a:pt x="49230" y="98181"/>
                    </a:lnTo>
                    <a:lnTo>
                      <a:pt x="49230" y="96256"/>
                    </a:lnTo>
                    <a:lnTo>
                      <a:pt x="51282" y="97540"/>
                    </a:lnTo>
                    <a:lnTo>
                      <a:pt x="52307" y="98181"/>
                    </a:lnTo>
                    <a:lnTo>
                      <a:pt x="53333" y="98181"/>
                    </a:lnTo>
                    <a:lnTo>
                      <a:pt x="53333" y="96256"/>
                    </a:lnTo>
                    <a:lnTo>
                      <a:pt x="53333" y="95614"/>
                    </a:lnTo>
                    <a:lnTo>
                      <a:pt x="52307" y="95614"/>
                    </a:lnTo>
                    <a:lnTo>
                      <a:pt x="51282" y="94331"/>
                    </a:lnTo>
                    <a:lnTo>
                      <a:pt x="55384" y="94331"/>
                    </a:lnTo>
                    <a:lnTo>
                      <a:pt x="57435" y="94973"/>
                    </a:lnTo>
                    <a:lnTo>
                      <a:pt x="60512" y="94331"/>
                    </a:lnTo>
                    <a:lnTo>
                      <a:pt x="61538" y="92406"/>
                    </a:lnTo>
                    <a:lnTo>
                      <a:pt x="60512" y="89197"/>
                    </a:lnTo>
                    <a:lnTo>
                      <a:pt x="62564" y="89197"/>
                    </a:lnTo>
                    <a:lnTo>
                      <a:pt x="65641" y="91122"/>
                    </a:lnTo>
                    <a:lnTo>
                      <a:pt x="68717" y="90481"/>
                    </a:lnTo>
                    <a:lnTo>
                      <a:pt x="69743" y="89197"/>
                    </a:lnTo>
                    <a:lnTo>
                      <a:pt x="70769" y="86631"/>
                    </a:lnTo>
                    <a:lnTo>
                      <a:pt x="69743" y="84705"/>
                    </a:lnTo>
                    <a:lnTo>
                      <a:pt x="70769" y="82139"/>
                    </a:lnTo>
                    <a:lnTo>
                      <a:pt x="70769" y="80855"/>
                    </a:lnTo>
                    <a:lnTo>
                      <a:pt x="69743" y="78930"/>
                    </a:lnTo>
                    <a:lnTo>
                      <a:pt x="69743" y="77647"/>
                    </a:lnTo>
                    <a:lnTo>
                      <a:pt x="70769" y="75721"/>
                    </a:lnTo>
                    <a:lnTo>
                      <a:pt x="70769" y="74438"/>
                    </a:lnTo>
                    <a:lnTo>
                      <a:pt x="74871" y="77005"/>
                    </a:lnTo>
                    <a:lnTo>
                      <a:pt x="75897" y="78288"/>
                    </a:lnTo>
                    <a:lnTo>
                      <a:pt x="81025" y="78288"/>
                    </a:lnTo>
                    <a:lnTo>
                      <a:pt x="81025" y="77005"/>
                    </a:lnTo>
                    <a:lnTo>
                      <a:pt x="81025" y="74438"/>
                    </a:lnTo>
                    <a:lnTo>
                      <a:pt x="83076" y="73796"/>
                    </a:lnTo>
                    <a:lnTo>
                      <a:pt x="86153" y="74438"/>
                    </a:lnTo>
                    <a:lnTo>
                      <a:pt x="86153" y="75721"/>
                    </a:lnTo>
                    <a:lnTo>
                      <a:pt x="86153" y="78288"/>
                    </a:lnTo>
                    <a:lnTo>
                      <a:pt x="89230" y="77647"/>
                    </a:lnTo>
                    <a:lnTo>
                      <a:pt x="92307" y="75721"/>
                    </a:lnTo>
                    <a:lnTo>
                      <a:pt x="90256" y="74438"/>
                    </a:lnTo>
                    <a:lnTo>
                      <a:pt x="88205" y="73155"/>
                    </a:lnTo>
                    <a:lnTo>
                      <a:pt x="88205" y="71871"/>
                    </a:lnTo>
                    <a:lnTo>
                      <a:pt x="89230" y="71229"/>
                    </a:lnTo>
                    <a:lnTo>
                      <a:pt x="92307" y="73155"/>
                    </a:lnTo>
                    <a:lnTo>
                      <a:pt x="95384" y="74438"/>
                    </a:lnTo>
                    <a:lnTo>
                      <a:pt x="97435" y="73796"/>
                    </a:lnTo>
                    <a:lnTo>
                      <a:pt x="96410" y="71229"/>
                    </a:lnTo>
                    <a:lnTo>
                      <a:pt x="97435" y="71229"/>
                    </a:lnTo>
                    <a:lnTo>
                      <a:pt x="99487" y="71229"/>
                    </a:lnTo>
                    <a:lnTo>
                      <a:pt x="99487" y="67379"/>
                    </a:lnTo>
                    <a:lnTo>
                      <a:pt x="103589" y="67379"/>
                    </a:lnTo>
                    <a:lnTo>
                      <a:pt x="105641" y="67379"/>
                    </a:lnTo>
                    <a:lnTo>
                      <a:pt x="106666" y="66737"/>
                    </a:lnTo>
                    <a:lnTo>
                      <a:pt x="106666" y="64812"/>
                    </a:lnTo>
                    <a:lnTo>
                      <a:pt x="108717" y="64812"/>
                    </a:lnTo>
                    <a:lnTo>
                      <a:pt x="109743" y="64171"/>
                    </a:lnTo>
                    <a:lnTo>
                      <a:pt x="112820" y="62245"/>
                    </a:lnTo>
                    <a:lnTo>
                      <a:pt x="116923" y="62245"/>
                    </a:lnTo>
                    <a:lnTo>
                      <a:pt x="118974" y="60962"/>
                    </a:lnTo>
                    <a:lnTo>
                      <a:pt x="120000" y="57112"/>
                    </a:lnTo>
                    <a:lnTo>
                      <a:pt x="118974" y="56470"/>
                    </a:lnTo>
                    <a:lnTo>
                      <a:pt x="117948" y="56470"/>
                    </a:lnTo>
                    <a:lnTo>
                      <a:pt x="115897" y="56470"/>
                    </a:lnTo>
                    <a:lnTo>
                      <a:pt x="114871" y="55187"/>
                    </a:lnTo>
                    <a:lnTo>
                      <a:pt x="116923" y="53903"/>
                    </a:lnTo>
                    <a:lnTo>
                      <a:pt x="116923" y="53262"/>
                    </a:lnTo>
                    <a:lnTo>
                      <a:pt x="114871" y="52620"/>
                    </a:lnTo>
                    <a:lnTo>
                      <a:pt x="112820" y="49411"/>
                    </a:lnTo>
                    <a:lnTo>
                      <a:pt x="108717" y="49411"/>
                    </a:lnTo>
                    <a:lnTo>
                      <a:pt x="106666" y="49411"/>
                    </a:lnTo>
                    <a:lnTo>
                      <a:pt x="104615" y="46844"/>
                    </a:lnTo>
                    <a:lnTo>
                      <a:pt x="103589" y="43636"/>
                    </a:lnTo>
                    <a:lnTo>
                      <a:pt x="103589" y="41069"/>
                    </a:lnTo>
                    <a:lnTo>
                      <a:pt x="102564" y="39144"/>
                    </a:lnTo>
                    <a:lnTo>
                      <a:pt x="99487" y="39786"/>
                    </a:lnTo>
                    <a:lnTo>
                      <a:pt x="97435" y="40427"/>
                    </a:lnTo>
                    <a:lnTo>
                      <a:pt x="93333" y="40427"/>
                    </a:lnTo>
                    <a:lnTo>
                      <a:pt x="89230" y="39144"/>
                    </a:lnTo>
                    <a:lnTo>
                      <a:pt x="86153" y="35935"/>
                    </a:lnTo>
                    <a:lnTo>
                      <a:pt x="85128" y="31443"/>
                    </a:lnTo>
                    <a:lnTo>
                      <a:pt x="81025" y="25668"/>
                    </a:lnTo>
                    <a:lnTo>
                      <a:pt x="78974" y="19893"/>
                    </a:lnTo>
                    <a:lnTo>
                      <a:pt x="76923" y="16684"/>
                    </a:lnTo>
                    <a:lnTo>
                      <a:pt x="74871" y="11550"/>
                    </a:lnTo>
                    <a:lnTo>
                      <a:pt x="72820" y="7058"/>
                    </a:lnTo>
                    <a:lnTo>
                      <a:pt x="70769" y="5133"/>
                    </a:lnTo>
                    <a:lnTo>
                      <a:pt x="57435" y="0"/>
                    </a:lnTo>
                    <a:lnTo>
                      <a:pt x="54358" y="1925"/>
                    </a:lnTo>
                    <a:lnTo>
                      <a:pt x="51282" y="4491"/>
                    </a:lnTo>
                    <a:lnTo>
                      <a:pt x="46153" y="7058"/>
                    </a:lnTo>
                    <a:lnTo>
                      <a:pt x="43076" y="7058"/>
                    </a:lnTo>
                    <a:lnTo>
                      <a:pt x="40000" y="5775"/>
                    </a:lnTo>
                    <a:lnTo>
                      <a:pt x="34871" y="3850"/>
                    </a:lnTo>
                    <a:lnTo>
                      <a:pt x="30769" y="3208"/>
                    </a:lnTo>
                    <a:lnTo>
                      <a:pt x="29743" y="3208"/>
                    </a:lnTo>
                    <a:lnTo>
                      <a:pt x="27692" y="4491"/>
                    </a:lnTo>
                    <a:lnTo>
                      <a:pt x="22564" y="14117"/>
                    </a:lnTo>
                    <a:lnTo>
                      <a:pt x="20512" y="21176"/>
                    </a:lnTo>
                    <a:lnTo>
                      <a:pt x="15384" y="28877"/>
                    </a:lnTo>
                    <a:lnTo>
                      <a:pt x="13333" y="34652"/>
                    </a:lnTo>
                    <a:lnTo>
                      <a:pt x="12307" y="41069"/>
                    </a:lnTo>
                    <a:lnTo>
                      <a:pt x="13333" y="44278"/>
                    </a:lnTo>
                    <a:lnTo>
                      <a:pt x="15384" y="45561"/>
                    </a:lnTo>
                    <a:lnTo>
                      <a:pt x="14358" y="46844"/>
                    </a:lnTo>
                    <a:lnTo>
                      <a:pt x="12307" y="48770"/>
                    </a:lnTo>
                    <a:lnTo>
                      <a:pt x="12307" y="52620"/>
                    </a:lnTo>
                    <a:lnTo>
                      <a:pt x="10256" y="55828"/>
                    </a:lnTo>
                    <a:lnTo>
                      <a:pt x="10256" y="60320"/>
                    </a:lnTo>
                    <a:lnTo>
                      <a:pt x="7179" y="60962"/>
                    </a:lnTo>
                    <a:lnTo>
                      <a:pt x="7179" y="64171"/>
                    </a:lnTo>
                    <a:lnTo>
                      <a:pt x="1025" y="64171"/>
                    </a:lnTo>
                    <a:lnTo>
                      <a:pt x="0" y="66096"/>
                    </a:lnTo>
                    <a:lnTo>
                      <a:pt x="23589" y="114224"/>
                    </a:lnTo>
                    <a:lnTo>
                      <a:pt x="33846" y="12000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68" name="Shape 1403">
                <a:extLst>
                  <a:ext uri="{FF2B5EF4-FFF2-40B4-BE49-F238E27FC236}">
                    <a16:creationId xmlns:a16="http://schemas.microsoft.com/office/drawing/2014/main" id="{4CC3A920-B716-4907-95BA-9F6F7D741D71}"/>
                  </a:ext>
                </a:extLst>
              </p:cNvPr>
              <p:cNvSpPr/>
              <p:nvPr/>
            </p:nvSpPr>
            <p:spPr>
              <a:xfrm>
                <a:off x="10187432" y="2126188"/>
                <a:ext cx="988343" cy="727152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0" y="98426"/>
                    </a:moveTo>
                    <a:lnTo>
                      <a:pt x="4958" y="91685"/>
                    </a:lnTo>
                    <a:lnTo>
                      <a:pt x="5950" y="89662"/>
                    </a:lnTo>
                    <a:lnTo>
                      <a:pt x="7933" y="86966"/>
                    </a:lnTo>
                    <a:lnTo>
                      <a:pt x="8925" y="85617"/>
                    </a:lnTo>
                    <a:lnTo>
                      <a:pt x="10909" y="83595"/>
                    </a:lnTo>
                    <a:lnTo>
                      <a:pt x="10909" y="81573"/>
                    </a:lnTo>
                    <a:lnTo>
                      <a:pt x="10909" y="80224"/>
                    </a:lnTo>
                    <a:lnTo>
                      <a:pt x="8429" y="73483"/>
                    </a:lnTo>
                    <a:lnTo>
                      <a:pt x="6942" y="68764"/>
                    </a:lnTo>
                    <a:lnTo>
                      <a:pt x="8925" y="66741"/>
                    </a:lnTo>
                    <a:lnTo>
                      <a:pt x="15371" y="64719"/>
                    </a:lnTo>
                    <a:lnTo>
                      <a:pt x="18842" y="64719"/>
                    </a:lnTo>
                    <a:lnTo>
                      <a:pt x="23305" y="64719"/>
                    </a:lnTo>
                    <a:lnTo>
                      <a:pt x="26280" y="64719"/>
                    </a:lnTo>
                    <a:lnTo>
                      <a:pt x="27768" y="64719"/>
                    </a:lnTo>
                    <a:lnTo>
                      <a:pt x="31239" y="62696"/>
                    </a:lnTo>
                    <a:lnTo>
                      <a:pt x="33223" y="62696"/>
                    </a:lnTo>
                    <a:lnTo>
                      <a:pt x="38181" y="60674"/>
                    </a:lnTo>
                    <a:lnTo>
                      <a:pt x="41157" y="55955"/>
                    </a:lnTo>
                    <a:lnTo>
                      <a:pt x="44132" y="53932"/>
                    </a:lnTo>
                    <a:lnTo>
                      <a:pt x="46115" y="51910"/>
                    </a:lnTo>
                    <a:lnTo>
                      <a:pt x="46115" y="50561"/>
                    </a:lnTo>
                    <a:lnTo>
                      <a:pt x="46115" y="47865"/>
                    </a:lnTo>
                    <a:lnTo>
                      <a:pt x="44132" y="44494"/>
                    </a:lnTo>
                    <a:lnTo>
                      <a:pt x="46115" y="42471"/>
                    </a:lnTo>
                    <a:lnTo>
                      <a:pt x="46611" y="39775"/>
                    </a:lnTo>
                    <a:lnTo>
                      <a:pt x="44132" y="41123"/>
                    </a:lnTo>
                    <a:lnTo>
                      <a:pt x="43140" y="39775"/>
                    </a:lnTo>
                    <a:lnTo>
                      <a:pt x="42148" y="37078"/>
                    </a:lnTo>
                    <a:lnTo>
                      <a:pt x="44628" y="34382"/>
                    </a:lnTo>
                    <a:lnTo>
                      <a:pt x="48595" y="29662"/>
                    </a:lnTo>
                    <a:lnTo>
                      <a:pt x="50082" y="25617"/>
                    </a:lnTo>
                    <a:lnTo>
                      <a:pt x="50578" y="22247"/>
                    </a:lnTo>
                    <a:lnTo>
                      <a:pt x="54545" y="15505"/>
                    </a:lnTo>
                    <a:lnTo>
                      <a:pt x="57520" y="10112"/>
                    </a:lnTo>
                    <a:lnTo>
                      <a:pt x="60991" y="6741"/>
                    </a:lnTo>
                    <a:lnTo>
                      <a:pt x="64462" y="5393"/>
                    </a:lnTo>
                    <a:lnTo>
                      <a:pt x="69917" y="3370"/>
                    </a:lnTo>
                    <a:lnTo>
                      <a:pt x="72892" y="1348"/>
                    </a:lnTo>
                    <a:lnTo>
                      <a:pt x="80826" y="0"/>
                    </a:lnTo>
                    <a:lnTo>
                      <a:pt x="80826" y="3370"/>
                    </a:lnTo>
                    <a:lnTo>
                      <a:pt x="80826" y="7415"/>
                    </a:lnTo>
                    <a:lnTo>
                      <a:pt x="81818" y="10786"/>
                    </a:lnTo>
                    <a:lnTo>
                      <a:pt x="83305" y="15505"/>
                    </a:lnTo>
                    <a:lnTo>
                      <a:pt x="84793" y="16179"/>
                    </a:lnTo>
                    <a:lnTo>
                      <a:pt x="86280" y="21573"/>
                    </a:lnTo>
                    <a:lnTo>
                      <a:pt x="84793" y="22921"/>
                    </a:lnTo>
                    <a:lnTo>
                      <a:pt x="84297" y="27640"/>
                    </a:lnTo>
                    <a:lnTo>
                      <a:pt x="86280" y="32359"/>
                    </a:lnTo>
                    <a:lnTo>
                      <a:pt x="87768" y="37752"/>
                    </a:lnTo>
                    <a:lnTo>
                      <a:pt x="89752" y="39775"/>
                    </a:lnTo>
                    <a:lnTo>
                      <a:pt x="90247" y="47191"/>
                    </a:lnTo>
                    <a:lnTo>
                      <a:pt x="91239" y="53258"/>
                    </a:lnTo>
                    <a:lnTo>
                      <a:pt x="93223" y="59325"/>
                    </a:lnTo>
                    <a:lnTo>
                      <a:pt x="93223" y="60000"/>
                    </a:lnTo>
                    <a:lnTo>
                      <a:pt x="93223" y="68764"/>
                    </a:lnTo>
                    <a:lnTo>
                      <a:pt x="93223" y="80898"/>
                    </a:lnTo>
                    <a:lnTo>
                      <a:pt x="95206" y="93707"/>
                    </a:lnTo>
                    <a:lnTo>
                      <a:pt x="95206" y="98426"/>
                    </a:lnTo>
                    <a:lnTo>
                      <a:pt x="97190" y="102471"/>
                    </a:lnTo>
                    <a:lnTo>
                      <a:pt x="95206" y="106516"/>
                    </a:lnTo>
                    <a:lnTo>
                      <a:pt x="95702" y="108539"/>
                    </a:lnTo>
                    <a:lnTo>
                      <a:pt x="92231" y="115280"/>
                    </a:lnTo>
                    <a:lnTo>
                      <a:pt x="95702" y="113258"/>
                    </a:lnTo>
                    <a:lnTo>
                      <a:pt x="98181" y="111910"/>
                    </a:lnTo>
                    <a:lnTo>
                      <a:pt x="101157" y="109213"/>
                    </a:lnTo>
                    <a:lnTo>
                      <a:pt x="102148" y="107865"/>
                    </a:lnTo>
                    <a:lnTo>
                      <a:pt x="105123" y="107191"/>
                    </a:lnTo>
                    <a:lnTo>
                      <a:pt x="107603" y="106516"/>
                    </a:lnTo>
                    <a:lnTo>
                      <a:pt x="108595" y="105168"/>
                    </a:lnTo>
                    <a:lnTo>
                      <a:pt x="111570" y="103146"/>
                    </a:lnTo>
                    <a:lnTo>
                      <a:pt x="114049" y="99101"/>
                    </a:lnTo>
                    <a:lnTo>
                      <a:pt x="111570" y="105842"/>
                    </a:lnTo>
                    <a:lnTo>
                      <a:pt x="114049" y="104494"/>
                    </a:lnTo>
                    <a:lnTo>
                      <a:pt x="115537" y="101797"/>
                    </a:lnTo>
                    <a:lnTo>
                      <a:pt x="117024" y="101123"/>
                    </a:lnTo>
                    <a:lnTo>
                      <a:pt x="119008" y="100449"/>
                    </a:lnTo>
                    <a:lnTo>
                      <a:pt x="120000" y="100449"/>
                    </a:lnTo>
                    <a:lnTo>
                      <a:pt x="115537" y="105842"/>
                    </a:lnTo>
                    <a:lnTo>
                      <a:pt x="111570" y="109887"/>
                    </a:lnTo>
                    <a:lnTo>
                      <a:pt x="108595" y="111910"/>
                    </a:lnTo>
                    <a:lnTo>
                      <a:pt x="106115" y="115280"/>
                    </a:lnTo>
                    <a:lnTo>
                      <a:pt x="102148" y="116629"/>
                    </a:lnTo>
                    <a:lnTo>
                      <a:pt x="97685" y="118651"/>
                    </a:lnTo>
                    <a:lnTo>
                      <a:pt x="93719" y="120000"/>
                    </a:lnTo>
                    <a:lnTo>
                      <a:pt x="91239" y="117977"/>
                    </a:lnTo>
                    <a:lnTo>
                      <a:pt x="90247" y="115280"/>
                    </a:lnTo>
                    <a:lnTo>
                      <a:pt x="90247" y="112584"/>
                    </a:lnTo>
                    <a:lnTo>
                      <a:pt x="89256" y="111235"/>
                    </a:lnTo>
                    <a:lnTo>
                      <a:pt x="82809" y="108539"/>
                    </a:lnTo>
                    <a:lnTo>
                      <a:pt x="76859" y="106516"/>
                    </a:lnTo>
                    <a:lnTo>
                      <a:pt x="77851" y="103146"/>
                    </a:lnTo>
                    <a:lnTo>
                      <a:pt x="76363" y="101797"/>
                    </a:lnTo>
                    <a:lnTo>
                      <a:pt x="74876" y="101797"/>
                    </a:lnTo>
                    <a:lnTo>
                      <a:pt x="73388" y="101123"/>
                    </a:lnTo>
                    <a:lnTo>
                      <a:pt x="71404" y="96404"/>
                    </a:lnTo>
                    <a:lnTo>
                      <a:pt x="69421" y="93033"/>
                    </a:lnTo>
                    <a:lnTo>
                      <a:pt x="65454" y="89662"/>
                    </a:lnTo>
                    <a:lnTo>
                      <a:pt x="991" y="105168"/>
                    </a:lnTo>
                    <a:lnTo>
                      <a:pt x="0" y="98426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69" name="Shape 1404">
                <a:extLst>
                  <a:ext uri="{FF2B5EF4-FFF2-40B4-BE49-F238E27FC236}">
                    <a16:creationId xmlns:a16="http://schemas.microsoft.com/office/drawing/2014/main" id="{E3B65623-A6DA-47CF-A2CD-E4B80B4EFD3D}"/>
                  </a:ext>
                </a:extLst>
              </p:cNvPr>
              <p:cNvSpPr/>
              <p:nvPr/>
            </p:nvSpPr>
            <p:spPr>
              <a:xfrm>
                <a:off x="10853133" y="2077167"/>
                <a:ext cx="228709" cy="412599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0" y="27326"/>
                    </a:moveTo>
                    <a:lnTo>
                      <a:pt x="4285" y="33267"/>
                    </a:lnTo>
                    <a:lnTo>
                      <a:pt x="10714" y="41584"/>
                    </a:lnTo>
                    <a:lnTo>
                      <a:pt x="17142" y="42772"/>
                    </a:lnTo>
                    <a:lnTo>
                      <a:pt x="23571" y="52277"/>
                    </a:lnTo>
                    <a:lnTo>
                      <a:pt x="17142" y="54653"/>
                    </a:lnTo>
                    <a:lnTo>
                      <a:pt x="14999" y="62970"/>
                    </a:lnTo>
                    <a:lnTo>
                      <a:pt x="23571" y="71287"/>
                    </a:lnTo>
                    <a:lnTo>
                      <a:pt x="29999" y="80792"/>
                    </a:lnTo>
                    <a:lnTo>
                      <a:pt x="38571" y="84356"/>
                    </a:lnTo>
                    <a:lnTo>
                      <a:pt x="40714" y="97425"/>
                    </a:lnTo>
                    <a:lnTo>
                      <a:pt x="44999" y="108118"/>
                    </a:lnTo>
                    <a:lnTo>
                      <a:pt x="53571" y="118811"/>
                    </a:lnTo>
                    <a:lnTo>
                      <a:pt x="53571" y="120000"/>
                    </a:lnTo>
                    <a:lnTo>
                      <a:pt x="100714" y="116435"/>
                    </a:lnTo>
                    <a:lnTo>
                      <a:pt x="96428" y="108118"/>
                    </a:lnTo>
                    <a:lnTo>
                      <a:pt x="98571" y="97425"/>
                    </a:lnTo>
                    <a:lnTo>
                      <a:pt x="96428" y="84356"/>
                    </a:lnTo>
                    <a:lnTo>
                      <a:pt x="94285" y="71287"/>
                    </a:lnTo>
                    <a:lnTo>
                      <a:pt x="100714" y="53465"/>
                    </a:lnTo>
                    <a:lnTo>
                      <a:pt x="100714" y="38019"/>
                    </a:lnTo>
                    <a:lnTo>
                      <a:pt x="119999" y="29702"/>
                    </a:lnTo>
                    <a:lnTo>
                      <a:pt x="119999" y="24950"/>
                    </a:lnTo>
                    <a:lnTo>
                      <a:pt x="113571" y="20198"/>
                    </a:lnTo>
                    <a:lnTo>
                      <a:pt x="113571" y="14257"/>
                    </a:lnTo>
                    <a:lnTo>
                      <a:pt x="113571" y="4752"/>
                    </a:lnTo>
                    <a:lnTo>
                      <a:pt x="107142" y="0"/>
                    </a:lnTo>
                    <a:lnTo>
                      <a:pt x="92142" y="2376"/>
                    </a:lnTo>
                    <a:lnTo>
                      <a:pt x="77142" y="4752"/>
                    </a:lnTo>
                    <a:lnTo>
                      <a:pt x="47142" y="7128"/>
                    </a:lnTo>
                    <a:lnTo>
                      <a:pt x="32142" y="9504"/>
                    </a:lnTo>
                    <a:lnTo>
                      <a:pt x="10714" y="14257"/>
                    </a:lnTo>
                    <a:lnTo>
                      <a:pt x="0" y="14257"/>
                    </a:lnTo>
                    <a:lnTo>
                      <a:pt x="0" y="20198"/>
                    </a:lnTo>
                    <a:lnTo>
                      <a:pt x="0" y="27326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70" name="Shape 1405">
                <a:extLst>
                  <a:ext uri="{FF2B5EF4-FFF2-40B4-BE49-F238E27FC236}">
                    <a16:creationId xmlns:a16="http://schemas.microsoft.com/office/drawing/2014/main" id="{D643A66A-23FA-4B0C-8C2A-21249588FC7F}"/>
                  </a:ext>
                </a:extLst>
              </p:cNvPr>
              <p:cNvSpPr/>
              <p:nvPr/>
            </p:nvSpPr>
            <p:spPr>
              <a:xfrm>
                <a:off x="11032834" y="2024060"/>
                <a:ext cx="204203" cy="453447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43200" y="0"/>
                    </a:moveTo>
                    <a:lnTo>
                      <a:pt x="33600" y="1081"/>
                    </a:lnTo>
                    <a:lnTo>
                      <a:pt x="21600" y="1081"/>
                    </a:lnTo>
                    <a:lnTo>
                      <a:pt x="21600" y="6486"/>
                    </a:lnTo>
                    <a:lnTo>
                      <a:pt x="19200" y="9729"/>
                    </a:lnTo>
                    <a:lnTo>
                      <a:pt x="14400" y="14054"/>
                    </a:lnTo>
                    <a:lnTo>
                      <a:pt x="21600" y="18378"/>
                    </a:lnTo>
                    <a:lnTo>
                      <a:pt x="21600" y="27027"/>
                    </a:lnTo>
                    <a:lnTo>
                      <a:pt x="21600" y="32432"/>
                    </a:lnTo>
                    <a:lnTo>
                      <a:pt x="28800" y="36756"/>
                    </a:lnTo>
                    <a:lnTo>
                      <a:pt x="28800" y="41081"/>
                    </a:lnTo>
                    <a:lnTo>
                      <a:pt x="7200" y="48648"/>
                    </a:lnTo>
                    <a:lnTo>
                      <a:pt x="7200" y="62702"/>
                    </a:lnTo>
                    <a:lnTo>
                      <a:pt x="0" y="78918"/>
                    </a:lnTo>
                    <a:lnTo>
                      <a:pt x="2400" y="90810"/>
                    </a:lnTo>
                    <a:lnTo>
                      <a:pt x="4800" y="102702"/>
                    </a:lnTo>
                    <a:lnTo>
                      <a:pt x="2400" y="112432"/>
                    </a:lnTo>
                    <a:lnTo>
                      <a:pt x="7200" y="120000"/>
                    </a:lnTo>
                    <a:lnTo>
                      <a:pt x="96000" y="110270"/>
                    </a:lnTo>
                    <a:lnTo>
                      <a:pt x="98400" y="104864"/>
                    </a:lnTo>
                    <a:lnTo>
                      <a:pt x="117600" y="101621"/>
                    </a:lnTo>
                    <a:lnTo>
                      <a:pt x="115200" y="98378"/>
                    </a:lnTo>
                    <a:lnTo>
                      <a:pt x="120000" y="89729"/>
                    </a:lnTo>
                    <a:lnTo>
                      <a:pt x="120000" y="89729"/>
                    </a:lnTo>
                    <a:lnTo>
                      <a:pt x="98400" y="81081"/>
                    </a:lnTo>
                    <a:lnTo>
                      <a:pt x="43200" y="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71" name="Shape 1406">
                <a:extLst>
                  <a:ext uri="{FF2B5EF4-FFF2-40B4-BE49-F238E27FC236}">
                    <a16:creationId xmlns:a16="http://schemas.microsoft.com/office/drawing/2014/main" id="{DE52844D-7AD6-453D-B728-029134F8A60D}"/>
                  </a:ext>
                </a:extLst>
              </p:cNvPr>
              <p:cNvSpPr/>
              <p:nvPr/>
            </p:nvSpPr>
            <p:spPr>
              <a:xfrm>
                <a:off x="10955237" y="2575551"/>
                <a:ext cx="228709" cy="208340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8571" y="68235"/>
                    </a:moveTo>
                    <a:lnTo>
                      <a:pt x="8571" y="84705"/>
                    </a:lnTo>
                    <a:lnTo>
                      <a:pt x="17142" y="98823"/>
                    </a:lnTo>
                    <a:lnTo>
                      <a:pt x="8571" y="112941"/>
                    </a:lnTo>
                    <a:lnTo>
                      <a:pt x="10714" y="120000"/>
                    </a:lnTo>
                    <a:lnTo>
                      <a:pt x="19285" y="117647"/>
                    </a:lnTo>
                    <a:lnTo>
                      <a:pt x="27857" y="105882"/>
                    </a:lnTo>
                    <a:lnTo>
                      <a:pt x="32142" y="103529"/>
                    </a:lnTo>
                    <a:lnTo>
                      <a:pt x="42857" y="91764"/>
                    </a:lnTo>
                    <a:lnTo>
                      <a:pt x="53571" y="84705"/>
                    </a:lnTo>
                    <a:lnTo>
                      <a:pt x="70714" y="84705"/>
                    </a:lnTo>
                    <a:lnTo>
                      <a:pt x="79285" y="80000"/>
                    </a:lnTo>
                    <a:lnTo>
                      <a:pt x="83571" y="75294"/>
                    </a:lnTo>
                    <a:lnTo>
                      <a:pt x="94285" y="70588"/>
                    </a:lnTo>
                    <a:lnTo>
                      <a:pt x="104999" y="65882"/>
                    </a:lnTo>
                    <a:lnTo>
                      <a:pt x="117857" y="65882"/>
                    </a:lnTo>
                    <a:lnTo>
                      <a:pt x="119999" y="61176"/>
                    </a:lnTo>
                    <a:lnTo>
                      <a:pt x="107142" y="0"/>
                    </a:lnTo>
                    <a:lnTo>
                      <a:pt x="51428" y="11764"/>
                    </a:lnTo>
                    <a:lnTo>
                      <a:pt x="0" y="21176"/>
                    </a:lnTo>
                    <a:lnTo>
                      <a:pt x="0" y="23529"/>
                    </a:lnTo>
                    <a:lnTo>
                      <a:pt x="8571" y="68235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72" name="Shape 1407">
                <a:extLst>
                  <a:ext uri="{FF2B5EF4-FFF2-40B4-BE49-F238E27FC236}">
                    <a16:creationId xmlns:a16="http://schemas.microsoft.com/office/drawing/2014/main" id="{BF49BD36-D806-43D5-B162-3A5262291FB9}"/>
                  </a:ext>
                </a:extLst>
              </p:cNvPr>
              <p:cNvSpPr/>
              <p:nvPr/>
            </p:nvSpPr>
            <p:spPr>
              <a:xfrm>
                <a:off x="11159443" y="2555123"/>
                <a:ext cx="98019" cy="126637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15000" y="58064"/>
                    </a:moveTo>
                    <a:lnTo>
                      <a:pt x="105000" y="50322"/>
                    </a:lnTo>
                    <a:lnTo>
                      <a:pt x="105000" y="46451"/>
                    </a:lnTo>
                    <a:lnTo>
                      <a:pt x="90000" y="42580"/>
                    </a:lnTo>
                    <a:lnTo>
                      <a:pt x="80000" y="38709"/>
                    </a:lnTo>
                    <a:lnTo>
                      <a:pt x="80000" y="27096"/>
                    </a:lnTo>
                    <a:lnTo>
                      <a:pt x="65000" y="19354"/>
                    </a:lnTo>
                    <a:lnTo>
                      <a:pt x="50000" y="0"/>
                    </a:lnTo>
                    <a:lnTo>
                      <a:pt x="0" y="19354"/>
                    </a:lnTo>
                    <a:lnTo>
                      <a:pt x="30000" y="120000"/>
                    </a:lnTo>
                    <a:lnTo>
                      <a:pt x="40000" y="112258"/>
                    </a:lnTo>
                    <a:lnTo>
                      <a:pt x="50000" y="108387"/>
                    </a:lnTo>
                    <a:lnTo>
                      <a:pt x="70000" y="100645"/>
                    </a:lnTo>
                    <a:lnTo>
                      <a:pt x="70000" y="89032"/>
                    </a:lnTo>
                    <a:lnTo>
                      <a:pt x="70000" y="85161"/>
                    </a:lnTo>
                    <a:lnTo>
                      <a:pt x="70000" y="77419"/>
                    </a:lnTo>
                    <a:lnTo>
                      <a:pt x="70000" y="65806"/>
                    </a:lnTo>
                    <a:lnTo>
                      <a:pt x="70000" y="58064"/>
                    </a:lnTo>
                    <a:lnTo>
                      <a:pt x="70000" y="54193"/>
                    </a:lnTo>
                    <a:lnTo>
                      <a:pt x="75000" y="50322"/>
                    </a:lnTo>
                    <a:lnTo>
                      <a:pt x="80000" y="50322"/>
                    </a:lnTo>
                    <a:lnTo>
                      <a:pt x="95000" y="54193"/>
                    </a:lnTo>
                    <a:lnTo>
                      <a:pt x="95000" y="61935"/>
                    </a:lnTo>
                    <a:lnTo>
                      <a:pt x="105000" y="77419"/>
                    </a:lnTo>
                    <a:lnTo>
                      <a:pt x="105000" y="81290"/>
                    </a:lnTo>
                    <a:lnTo>
                      <a:pt x="110000" y="85161"/>
                    </a:lnTo>
                    <a:lnTo>
                      <a:pt x="120000" y="81290"/>
                    </a:lnTo>
                    <a:lnTo>
                      <a:pt x="120000" y="77419"/>
                    </a:lnTo>
                    <a:lnTo>
                      <a:pt x="120000" y="73548"/>
                    </a:lnTo>
                    <a:lnTo>
                      <a:pt x="115000" y="58064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73" name="Shape 1408">
                <a:extLst>
                  <a:ext uri="{FF2B5EF4-FFF2-40B4-BE49-F238E27FC236}">
                    <a16:creationId xmlns:a16="http://schemas.microsoft.com/office/drawing/2014/main" id="{29D9B1E1-BB17-49B8-9B1E-CC6FEF6FD1B6}"/>
                  </a:ext>
                </a:extLst>
              </p:cNvPr>
              <p:cNvSpPr/>
              <p:nvPr/>
            </p:nvSpPr>
            <p:spPr>
              <a:xfrm>
                <a:off x="10955237" y="2408060"/>
                <a:ext cx="445161" cy="224684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17798" y="76363"/>
                    </a:moveTo>
                    <a:lnTo>
                      <a:pt x="115596" y="69818"/>
                    </a:lnTo>
                    <a:lnTo>
                      <a:pt x="114495" y="67636"/>
                    </a:lnTo>
                    <a:lnTo>
                      <a:pt x="111192" y="63272"/>
                    </a:lnTo>
                    <a:lnTo>
                      <a:pt x="107889" y="58909"/>
                    </a:lnTo>
                    <a:lnTo>
                      <a:pt x="106788" y="54545"/>
                    </a:lnTo>
                    <a:lnTo>
                      <a:pt x="105688" y="58909"/>
                    </a:lnTo>
                    <a:lnTo>
                      <a:pt x="106788" y="63272"/>
                    </a:lnTo>
                    <a:lnTo>
                      <a:pt x="110091" y="69818"/>
                    </a:lnTo>
                    <a:lnTo>
                      <a:pt x="112293" y="76363"/>
                    </a:lnTo>
                    <a:lnTo>
                      <a:pt x="108990" y="78545"/>
                    </a:lnTo>
                    <a:lnTo>
                      <a:pt x="104587" y="78545"/>
                    </a:lnTo>
                    <a:lnTo>
                      <a:pt x="97981" y="85090"/>
                    </a:lnTo>
                    <a:lnTo>
                      <a:pt x="96880" y="80727"/>
                    </a:lnTo>
                    <a:lnTo>
                      <a:pt x="95779" y="78545"/>
                    </a:lnTo>
                    <a:lnTo>
                      <a:pt x="93577" y="76363"/>
                    </a:lnTo>
                    <a:lnTo>
                      <a:pt x="90275" y="72000"/>
                    </a:lnTo>
                    <a:lnTo>
                      <a:pt x="89174" y="69818"/>
                    </a:lnTo>
                    <a:lnTo>
                      <a:pt x="90275" y="65454"/>
                    </a:lnTo>
                    <a:lnTo>
                      <a:pt x="89174" y="58909"/>
                    </a:lnTo>
                    <a:lnTo>
                      <a:pt x="84770" y="52363"/>
                    </a:lnTo>
                    <a:lnTo>
                      <a:pt x="80366" y="48000"/>
                    </a:lnTo>
                    <a:lnTo>
                      <a:pt x="78165" y="48000"/>
                    </a:lnTo>
                    <a:lnTo>
                      <a:pt x="75963" y="48000"/>
                    </a:lnTo>
                    <a:lnTo>
                      <a:pt x="74862" y="43636"/>
                    </a:lnTo>
                    <a:lnTo>
                      <a:pt x="74862" y="34909"/>
                    </a:lnTo>
                    <a:lnTo>
                      <a:pt x="77064" y="30545"/>
                    </a:lnTo>
                    <a:lnTo>
                      <a:pt x="78165" y="28363"/>
                    </a:lnTo>
                    <a:lnTo>
                      <a:pt x="80366" y="24000"/>
                    </a:lnTo>
                    <a:lnTo>
                      <a:pt x="84770" y="19636"/>
                    </a:lnTo>
                    <a:lnTo>
                      <a:pt x="84770" y="17454"/>
                    </a:lnTo>
                    <a:lnTo>
                      <a:pt x="83669" y="13090"/>
                    </a:lnTo>
                    <a:lnTo>
                      <a:pt x="80366" y="13090"/>
                    </a:lnTo>
                    <a:lnTo>
                      <a:pt x="78165" y="13090"/>
                    </a:lnTo>
                    <a:lnTo>
                      <a:pt x="77064" y="6545"/>
                    </a:lnTo>
                    <a:lnTo>
                      <a:pt x="74862" y="0"/>
                    </a:lnTo>
                    <a:lnTo>
                      <a:pt x="66055" y="6545"/>
                    </a:lnTo>
                    <a:lnTo>
                      <a:pt x="64954" y="17454"/>
                    </a:lnTo>
                    <a:lnTo>
                      <a:pt x="24220" y="37090"/>
                    </a:lnTo>
                    <a:lnTo>
                      <a:pt x="0" y="43636"/>
                    </a:lnTo>
                    <a:lnTo>
                      <a:pt x="0" y="72000"/>
                    </a:lnTo>
                    <a:lnTo>
                      <a:pt x="0" y="109090"/>
                    </a:lnTo>
                    <a:lnTo>
                      <a:pt x="26422" y="100363"/>
                    </a:lnTo>
                    <a:lnTo>
                      <a:pt x="55045" y="89454"/>
                    </a:lnTo>
                    <a:lnTo>
                      <a:pt x="66055" y="78545"/>
                    </a:lnTo>
                    <a:lnTo>
                      <a:pt x="69357" y="89454"/>
                    </a:lnTo>
                    <a:lnTo>
                      <a:pt x="72660" y="93818"/>
                    </a:lnTo>
                    <a:lnTo>
                      <a:pt x="72660" y="100363"/>
                    </a:lnTo>
                    <a:lnTo>
                      <a:pt x="74862" y="102545"/>
                    </a:lnTo>
                    <a:lnTo>
                      <a:pt x="78165" y="104727"/>
                    </a:lnTo>
                    <a:lnTo>
                      <a:pt x="78165" y="106909"/>
                    </a:lnTo>
                    <a:lnTo>
                      <a:pt x="80366" y="111272"/>
                    </a:lnTo>
                    <a:lnTo>
                      <a:pt x="81467" y="120000"/>
                    </a:lnTo>
                    <a:lnTo>
                      <a:pt x="81467" y="120000"/>
                    </a:lnTo>
                    <a:lnTo>
                      <a:pt x="83669" y="120000"/>
                    </a:lnTo>
                    <a:lnTo>
                      <a:pt x="84770" y="120000"/>
                    </a:lnTo>
                    <a:lnTo>
                      <a:pt x="86972" y="115636"/>
                    </a:lnTo>
                    <a:lnTo>
                      <a:pt x="86972" y="106909"/>
                    </a:lnTo>
                    <a:lnTo>
                      <a:pt x="90275" y="102545"/>
                    </a:lnTo>
                    <a:lnTo>
                      <a:pt x="90275" y="98181"/>
                    </a:lnTo>
                    <a:lnTo>
                      <a:pt x="93577" y="93818"/>
                    </a:lnTo>
                    <a:lnTo>
                      <a:pt x="94678" y="100363"/>
                    </a:lnTo>
                    <a:lnTo>
                      <a:pt x="95779" y="106909"/>
                    </a:lnTo>
                    <a:lnTo>
                      <a:pt x="95779" y="111272"/>
                    </a:lnTo>
                    <a:lnTo>
                      <a:pt x="99082" y="106909"/>
                    </a:lnTo>
                    <a:lnTo>
                      <a:pt x="101284" y="102545"/>
                    </a:lnTo>
                    <a:lnTo>
                      <a:pt x="101284" y="98181"/>
                    </a:lnTo>
                    <a:lnTo>
                      <a:pt x="103486" y="98181"/>
                    </a:lnTo>
                    <a:lnTo>
                      <a:pt x="106788" y="93818"/>
                    </a:lnTo>
                    <a:lnTo>
                      <a:pt x="111192" y="93818"/>
                    </a:lnTo>
                    <a:lnTo>
                      <a:pt x="113394" y="89454"/>
                    </a:lnTo>
                    <a:lnTo>
                      <a:pt x="116697" y="87272"/>
                    </a:lnTo>
                    <a:lnTo>
                      <a:pt x="118899" y="82909"/>
                    </a:lnTo>
                    <a:lnTo>
                      <a:pt x="120000" y="78545"/>
                    </a:lnTo>
                    <a:lnTo>
                      <a:pt x="117798" y="76363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74" name="Shape 1409">
                <a:extLst>
                  <a:ext uri="{FF2B5EF4-FFF2-40B4-BE49-F238E27FC236}">
                    <a16:creationId xmlns:a16="http://schemas.microsoft.com/office/drawing/2014/main" id="{B255E58D-54F2-4603-B7F7-B815A8C14B93}"/>
                  </a:ext>
                </a:extLst>
              </p:cNvPr>
              <p:cNvSpPr/>
              <p:nvPr/>
            </p:nvSpPr>
            <p:spPr>
              <a:xfrm>
                <a:off x="11298301" y="2616403"/>
                <a:ext cx="40837" cy="28598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30000" y="120000"/>
                    </a:moveTo>
                    <a:cubicBezTo>
                      <a:pt x="70000" y="120000"/>
                      <a:pt x="70000" y="120000"/>
                      <a:pt x="70000" y="120000"/>
                    </a:cubicBezTo>
                    <a:cubicBezTo>
                      <a:pt x="100000" y="80000"/>
                      <a:pt x="100000" y="80000"/>
                      <a:pt x="100000" y="80000"/>
                    </a:cubicBezTo>
                    <a:cubicBezTo>
                      <a:pt x="120000" y="53333"/>
                      <a:pt x="120000" y="53333"/>
                      <a:pt x="120000" y="53333"/>
                    </a:cubicBezTo>
                    <a:cubicBezTo>
                      <a:pt x="80000" y="26666"/>
                      <a:pt x="80000" y="26666"/>
                      <a:pt x="80000" y="26666"/>
                    </a:cubicBezTo>
                    <a:cubicBezTo>
                      <a:pt x="80000" y="26666"/>
                      <a:pt x="50000" y="0"/>
                      <a:pt x="40000" y="13333"/>
                    </a:cubicBezTo>
                    <a:cubicBezTo>
                      <a:pt x="40000" y="26666"/>
                      <a:pt x="0" y="93333"/>
                      <a:pt x="0" y="93333"/>
                    </a:cubicBezTo>
                    <a:lnTo>
                      <a:pt x="30000" y="12000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75" name="Shape 1410">
                <a:extLst>
                  <a:ext uri="{FF2B5EF4-FFF2-40B4-BE49-F238E27FC236}">
                    <a16:creationId xmlns:a16="http://schemas.microsoft.com/office/drawing/2014/main" id="{11F8D691-63EA-4D96-8FB4-94BC5FB59C51}"/>
                  </a:ext>
                </a:extLst>
              </p:cNvPr>
              <p:cNvSpPr/>
              <p:nvPr/>
            </p:nvSpPr>
            <p:spPr>
              <a:xfrm>
                <a:off x="10783707" y="2771639"/>
                <a:ext cx="171527" cy="384001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02857" y="16595"/>
                    </a:moveTo>
                    <a:lnTo>
                      <a:pt x="102857" y="11489"/>
                    </a:lnTo>
                    <a:lnTo>
                      <a:pt x="97142" y="8936"/>
                    </a:lnTo>
                    <a:lnTo>
                      <a:pt x="60000" y="3829"/>
                    </a:lnTo>
                    <a:lnTo>
                      <a:pt x="25714" y="0"/>
                    </a:lnTo>
                    <a:lnTo>
                      <a:pt x="22857" y="3829"/>
                    </a:lnTo>
                    <a:lnTo>
                      <a:pt x="17142" y="8936"/>
                    </a:lnTo>
                    <a:lnTo>
                      <a:pt x="8571" y="11489"/>
                    </a:lnTo>
                    <a:lnTo>
                      <a:pt x="5714" y="17872"/>
                    </a:lnTo>
                    <a:lnTo>
                      <a:pt x="8571" y="25531"/>
                    </a:lnTo>
                    <a:lnTo>
                      <a:pt x="8571" y="31914"/>
                    </a:lnTo>
                    <a:lnTo>
                      <a:pt x="5714" y="38297"/>
                    </a:lnTo>
                    <a:lnTo>
                      <a:pt x="14285" y="40851"/>
                    </a:lnTo>
                    <a:lnTo>
                      <a:pt x="25714" y="43404"/>
                    </a:lnTo>
                    <a:lnTo>
                      <a:pt x="31428" y="48510"/>
                    </a:lnTo>
                    <a:lnTo>
                      <a:pt x="42857" y="53617"/>
                    </a:lnTo>
                    <a:lnTo>
                      <a:pt x="57142" y="58723"/>
                    </a:lnTo>
                    <a:lnTo>
                      <a:pt x="57142" y="60000"/>
                    </a:lnTo>
                    <a:lnTo>
                      <a:pt x="51428" y="67659"/>
                    </a:lnTo>
                    <a:lnTo>
                      <a:pt x="28571" y="74042"/>
                    </a:lnTo>
                    <a:lnTo>
                      <a:pt x="8571" y="81702"/>
                    </a:lnTo>
                    <a:lnTo>
                      <a:pt x="5714" y="85531"/>
                    </a:lnTo>
                    <a:lnTo>
                      <a:pt x="0" y="91914"/>
                    </a:lnTo>
                    <a:lnTo>
                      <a:pt x="2857" y="95744"/>
                    </a:lnTo>
                    <a:lnTo>
                      <a:pt x="8571" y="100851"/>
                    </a:lnTo>
                    <a:lnTo>
                      <a:pt x="22857" y="105957"/>
                    </a:lnTo>
                    <a:lnTo>
                      <a:pt x="34285" y="108510"/>
                    </a:lnTo>
                    <a:lnTo>
                      <a:pt x="42857" y="109787"/>
                    </a:lnTo>
                    <a:lnTo>
                      <a:pt x="57142" y="109787"/>
                    </a:lnTo>
                    <a:lnTo>
                      <a:pt x="68571" y="109787"/>
                    </a:lnTo>
                    <a:lnTo>
                      <a:pt x="71428" y="109787"/>
                    </a:lnTo>
                    <a:lnTo>
                      <a:pt x="68571" y="114893"/>
                    </a:lnTo>
                    <a:lnTo>
                      <a:pt x="68571" y="118723"/>
                    </a:lnTo>
                    <a:lnTo>
                      <a:pt x="71428" y="120000"/>
                    </a:lnTo>
                    <a:lnTo>
                      <a:pt x="74285" y="120000"/>
                    </a:lnTo>
                    <a:lnTo>
                      <a:pt x="77142" y="111063"/>
                    </a:lnTo>
                    <a:lnTo>
                      <a:pt x="80000" y="109787"/>
                    </a:lnTo>
                    <a:lnTo>
                      <a:pt x="88571" y="104680"/>
                    </a:lnTo>
                    <a:lnTo>
                      <a:pt x="102857" y="99574"/>
                    </a:lnTo>
                    <a:lnTo>
                      <a:pt x="102857" y="88085"/>
                    </a:lnTo>
                    <a:lnTo>
                      <a:pt x="102857" y="82978"/>
                    </a:lnTo>
                    <a:lnTo>
                      <a:pt x="114285" y="77872"/>
                    </a:lnTo>
                    <a:lnTo>
                      <a:pt x="117142" y="67659"/>
                    </a:lnTo>
                    <a:lnTo>
                      <a:pt x="120000" y="61276"/>
                    </a:lnTo>
                    <a:lnTo>
                      <a:pt x="120000" y="51063"/>
                    </a:lnTo>
                    <a:lnTo>
                      <a:pt x="120000" y="45957"/>
                    </a:lnTo>
                    <a:lnTo>
                      <a:pt x="114285" y="38297"/>
                    </a:lnTo>
                    <a:lnTo>
                      <a:pt x="102857" y="38297"/>
                    </a:lnTo>
                    <a:lnTo>
                      <a:pt x="97142" y="38297"/>
                    </a:lnTo>
                    <a:lnTo>
                      <a:pt x="100000" y="31914"/>
                    </a:lnTo>
                    <a:lnTo>
                      <a:pt x="105714" y="25531"/>
                    </a:lnTo>
                    <a:lnTo>
                      <a:pt x="111428" y="22978"/>
                    </a:lnTo>
                    <a:lnTo>
                      <a:pt x="108571" y="21702"/>
                    </a:lnTo>
                    <a:lnTo>
                      <a:pt x="102857" y="16595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76" name="Shape 1411">
                <a:extLst>
                  <a:ext uri="{FF2B5EF4-FFF2-40B4-BE49-F238E27FC236}">
                    <a16:creationId xmlns:a16="http://schemas.microsoft.com/office/drawing/2014/main" id="{5BE6D024-EDFF-494D-8889-8A2188CB96FB}"/>
                  </a:ext>
                </a:extLst>
              </p:cNvPr>
              <p:cNvSpPr/>
              <p:nvPr/>
            </p:nvSpPr>
            <p:spPr>
              <a:xfrm>
                <a:off x="10751034" y="3037170"/>
                <a:ext cx="134771" cy="220595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32727" y="22222"/>
                    </a:moveTo>
                    <a:lnTo>
                      <a:pt x="29090" y="15555"/>
                    </a:lnTo>
                    <a:lnTo>
                      <a:pt x="36363" y="4444"/>
                    </a:lnTo>
                    <a:lnTo>
                      <a:pt x="40000" y="2222"/>
                    </a:lnTo>
                    <a:lnTo>
                      <a:pt x="32727" y="0"/>
                    </a:lnTo>
                    <a:lnTo>
                      <a:pt x="21818" y="0"/>
                    </a:lnTo>
                    <a:lnTo>
                      <a:pt x="18181" y="0"/>
                    </a:lnTo>
                    <a:lnTo>
                      <a:pt x="7272" y="4444"/>
                    </a:lnTo>
                    <a:lnTo>
                      <a:pt x="0" y="11111"/>
                    </a:lnTo>
                    <a:lnTo>
                      <a:pt x="43636" y="120000"/>
                    </a:lnTo>
                    <a:lnTo>
                      <a:pt x="120000" y="113333"/>
                    </a:lnTo>
                    <a:lnTo>
                      <a:pt x="116363" y="95555"/>
                    </a:lnTo>
                    <a:lnTo>
                      <a:pt x="105454" y="88888"/>
                    </a:lnTo>
                    <a:lnTo>
                      <a:pt x="101818" y="84444"/>
                    </a:lnTo>
                    <a:lnTo>
                      <a:pt x="94545" y="82222"/>
                    </a:lnTo>
                    <a:lnTo>
                      <a:pt x="83636" y="75555"/>
                    </a:lnTo>
                    <a:lnTo>
                      <a:pt x="72727" y="71111"/>
                    </a:lnTo>
                    <a:lnTo>
                      <a:pt x="65454" y="62222"/>
                    </a:lnTo>
                    <a:lnTo>
                      <a:pt x="58181" y="53333"/>
                    </a:lnTo>
                    <a:lnTo>
                      <a:pt x="50909" y="44444"/>
                    </a:lnTo>
                    <a:lnTo>
                      <a:pt x="58181" y="37777"/>
                    </a:lnTo>
                    <a:lnTo>
                      <a:pt x="40000" y="31111"/>
                    </a:lnTo>
                    <a:lnTo>
                      <a:pt x="32727" y="22222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77" name="Shape 1412">
                <a:extLst>
                  <a:ext uri="{FF2B5EF4-FFF2-40B4-BE49-F238E27FC236}">
                    <a16:creationId xmlns:a16="http://schemas.microsoft.com/office/drawing/2014/main" id="{F7961D48-A94C-4B61-9C5B-F43F2037E4C0}"/>
                  </a:ext>
                </a:extLst>
              </p:cNvPr>
              <p:cNvSpPr/>
              <p:nvPr/>
            </p:nvSpPr>
            <p:spPr>
              <a:xfrm>
                <a:off x="10097584" y="2669508"/>
                <a:ext cx="767805" cy="498384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05319" y="88524"/>
                    </a:moveTo>
                    <a:lnTo>
                      <a:pt x="105957" y="88524"/>
                    </a:lnTo>
                    <a:lnTo>
                      <a:pt x="107872" y="88524"/>
                    </a:lnTo>
                    <a:lnTo>
                      <a:pt x="109148" y="89508"/>
                    </a:lnTo>
                    <a:lnTo>
                      <a:pt x="109148" y="87540"/>
                    </a:lnTo>
                    <a:lnTo>
                      <a:pt x="113617" y="81639"/>
                    </a:lnTo>
                    <a:lnTo>
                      <a:pt x="118723" y="76721"/>
                    </a:lnTo>
                    <a:lnTo>
                      <a:pt x="120000" y="70819"/>
                    </a:lnTo>
                    <a:lnTo>
                      <a:pt x="120000" y="69836"/>
                    </a:lnTo>
                    <a:lnTo>
                      <a:pt x="116808" y="65901"/>
                    </a:lnTo>
                    <a:lnTo>
                      <a:pt x="114255" y="61967"/>
                    </a:lnTo>
                    <a:lnTo>
                      <a:pt x="112978" y="58032"/>
                    </a:lnTo>
                    <a:lnTo>
                      <a:pt x="110425" y="56065"/>
                    </a:lnTo>
                    <a:lnTo>
                      <a:pt x="108510" y="54098"/>
                    </a:lnTo>
                    <a:lnTo>
                      <a:pt x="109148" y="49180"/>
                    </a:lnTo>
                    <a:lnTo>
                      <a:pt x="109148" y="44262"/>
                    </a:lnTo>
                    <a:lnTo>
                      <a:pt x="108510" y="38360"/>
                    </a:lnTo>
                    <a:lnTo>
                      <a:pt x="109148" y="33442"/>
                    </a:lnTo>
                    <a:lnTo>
                      <a:pt x="111063" y="31475"/>
                    </a:lnTo>
                    <a:lnTo>
                      <a:pt x="112340" y="27540"/>
                    </a:lnTo>
                    <a:lnTo>
                      <a:pt x="112978" y="24590"/>
                    </a:lnTo>
                    <a:lnTo>
                      <a:pt x="114255" y="19672"/>
                    </a:lnTo>
                    <a:lnTo>
                      <a:pt x="112340" y="17704"/>
                    </a:lnTo>
                    <a:lnTo>
                      <a:pt x="110425" y="17704"/>
                    </a:lnTo>
                    <a:lnTo>
                      <a:pt x="108510" y="16721"/>
                    </a:lnTo>
                    <a:lnTo>
                      <a:pt x="105957" y="9836"/>
                    </a:lnTo>
                    <a:lnTo>
                      <a:pt x="103404" y="4918"/>
                    </a:lnTo>
                    <a:lnTo>
                      <a:pt x="98297" y="0"/>
                    </a:lnTo>
                    <a:lnTo>
                      <a:pt x="15319" y="22622"/>
                    </a:lnTo>
                    <a:lnTo>
                      <a:pt x="14042" y="12786"/>
                    </a:lnTo>
                    <a:lnTo>
                      <a:pt x="10212" y="16721"/>
                    </a:lnTo>
                    <a:lnTo>
                      <a:pt x="7021" y="20655"/>
                    </a:lnTo>
                    <a:lnTo>
                      <a:pt x="3829" y="23606"/>
                    </a:lnTo>
                    <a:lnTo>
                      <a:pt x="0" y="27540"/>
                    </a:lnTo>
                    <a:lnTo>
                      <a:pt x="10212" y="120000"/>
                    </a:lnTo>
                    <a:lnTo>
                      <a:pt x="102127" y="93442"/>
                    </a:lnTo>
                    <a:lnTo>
                      <a:pt x="103404" y="90491"/>
                    </a:lnTo>
                    <a:lnTo>
                      <a:pt x="105319" y="88524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78" name="Shape 1413">
                <a:extLst>
                  <a:ext uri="{FF2B5EF4-FFF2-40B4-BE49-F238E27FC236}">
                    <a16:creationId xmlns:a16="http://schemas.microsoft.com/office/drawing/2014/main" id="{E2BE2CDB-37BF-4527-BC55-711A27524703}"/>
                  </a:ext>
                </a:extLst>
              </p:cNvPr>
              <p:cNvSpPr/>
              <p:nvPr/>
            </p:nvSpPr>
            <p:spPr>
              <a:xfrm>
                <a:off x="9378787" y="4667139"/>
                <a:ext cx="1188461" cy="931410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80000" y="0"/>
                    </a:moveTo>
                    <a:lnTo>
                      <a:pt x="80000" y="0"/>
                    </a:lnTo>
                    <a:lnTo>
                      <a:pt x="82474" y="0"/>
                    </a:lnTo>
                    <a:lnTo>
                      <a:pt x="86185" y="1052"/>
                    </a:lnTo>
                    <a:lnTo>
                      <a:pt x="86597" y="3684"/>
                    </a:lnTo>
                    <a:lnTo>
                      <a:pt x="87010" y="5263"/>
                    </a:lnTo>
                    <a:lnTo>
                      <a:pt x="88659" y="6315"/>
                    </a:lnTo>
                    <a:lnTo>
                      <a:pt x="89896" y="8947"/>
                    </a:lnTo>
                    <a:lnTo>
                      <a:pt x="91958" y="15789"/>
                    </a:lnTo>
                    <a:lnTo>
                      <a:pt x="94432" y="21052"/>
                    </a:lnTo>
                    <a:lnTo>
                      <a:pt x="97731" y="28947"/>
                    </a:lnTo>
                    <a:lnTo>
                      <a:pt x="99381" y="32631"/>
                    </a:lnTo>
                    <a:lnTo>
                      <a:pt x="103505" y="40526"/>
                    </a:lnTo>
                    <a:lnTo>
                      <a:pt x="105567" y="42631"/>
                    </a:lnTo>
                    <a:lnTo>
                      <a:pt x="106804" y="44210"/>
                    </a:lnTo>
                    <a:lnTo>
                      <a:pt x="106804" y="45789"/>
                    </a:lnTo>
                    <a:lnTo>
                      <a:pt x="106804" y="50526"/>
                    </a:lnTo>
                    <a:lnTo>
                      <a:pt x="105567" y="45263"/>
                    </a:lnTo>
                    <a:lnTo>
                      <a:pt x="105154" y="50526"/>
                    </a:lnTo>
                    <a:lnTo>
                      <a:pt x="107628" y="55789"/>
                    </a:lnTo>
                    <a:lnTo>
                      <a:pt x="110515" y="61052"/>
                    </a:lnTo>
                    <a:lnTo>
                      <a:pt x="113402" y="67894"/>
                    </a:lnTo>
                    <a:lnTo>
                      <a:pt x="115463" y="72105"/>
                    </a:lnTo>
                    <a:lnTo>
                      <a:pt x="117938" y="75789"/>
                    </a:lnTo>
                    <a:lnTo>
                      <a:pt x="119175" y="80526"/>
                    </a:lnTo>
                    <a:lnTo>
                      <a:pt x="120000" y="88421"/>
                    </a:lnTo>
                    <a:lnTo>
                      <a:pt x="120000" y="92631"/>
                    </a:lnTo>
                    <a:lnTo>
                      <a:pt x="120000" y="97368"/>
                    </a:lnTo>
                    <a:lnTo>
                      <a:pt x="120000" y="101578"/>
                    </a:lnTo>
                    <a:lnTo>
                      <a:pt x="118762" y="103157"/>
                    </a:lnTo>
                    <a:lnTo>
                      <a:pt x="117938" y="105263"/>
                    </a:lnTo>
                    <a:lnTo>
                      <a:pt x="117938" y="107894"/>
                    </a:lnTo>
                    <a:lnTo>
                      <a:pt x="118350" y="111052"/>
                    </a:lnTo>
                    <a:lnTo>
                      <a:pt x="117938" y="114736"/>
                    </a:lnTo>
                    <a:lnTo>
                      <a:pt x="116701" y="118421"/>
                    </a:lnTo>
                    <a:lnTo>
                      <a:pt x="115463" y="119473"/>
                    </a:lnTo>
                    <a:lnTo>
                      <a:pt x="114226" y="119999"/>
                    </a:lnTo>
                    <a:lnTo>
                      <a:pt x="115051" y="117894"/>
                    </a:lnTo>
                    <a:lnTo>
                      <a:pt x="115876" y="116842"/>
                    </a:lnTo>
                    <a:lnTo>
                      <a:pt x="115876" y="114210"/>
                    </a:lnTo>
                    <a:lnTo>
                      <a:pt x="115463" y="114210"/>
                    </a:lnTo>
                    <a:lnTo>
                      <a:pt x="112989" y="116315"/>
                    </a:lnTo>
                    <a:lnTo>
                      <a:pt x="111340" y="116842"/>
                    </a:lnTo>
                    <a:lnTo>
                      <a:pt x="110103" y="116315"/>
                    </a:lnTo>
                    <a:lnTo>
                      <a:pt x="108865" y="116842"/>
                    </a:lnTo>
                    <a:lnTo>
                      <a:pt x="107628" y="117894"/>
                    </a:lnTo>
                    <a:lnTo>
                      <a:pt x="106804" y="117368"/>
                    </a:lnTo>
                    <a:lnTo>
                      <a:pt x="105154" y="116842"/>
                    </a:lnTo>
                    <a:lnTo>
                      <a:pt x="104329" y="115263"/>
                    </a:lnTo>
                    <a:lnTo>
                      <a:pt x="104742" y="114210"/>
                    </a:lnTo>
                    <a:lnTo>
                      <a:pt x="105154" y="114210"/>
                    </a:lnTo>
                    <a:lnTo>
                      <a:pt x="108041" y="114736"/>
                    </a:lnTo>
                    <a:lnTo>
                      <a:pt x="108865" y="114210"/>
                    </a:lnTo>
                    <a:lnTo>
                      <a:pt x="108453" y="113684"/>
                    </a:lnTo>
                    <a:lnTo>
                      <a:pt x="107216" y="112631"/>
                    </a:lnTo>
                    <a:lnTo>
                      <a:pt x="105567" y="113157"/>
                    </a:lnTo>
                    <a:lnTo>
                      <a:pt x="104329" y="111578"/>
                    </a:lnTo>
                    <a:lnTo>
                      <a:pt x="103092" y="108947"/>
                    </a:lnTo>
                    <a:lnTo>
                      <a:pt x="101443" y="106842"/>
                    </a:lnTo>
                    <a:lnTo>
                      <a:pt x="101030" y="105263"/>
                    </a:lnTo>
                    <a:lnTo>
                      <a:pt x="99793" y="103157"/>
                    </a:lnTo>
                    <a:lnTo>
                      <a:pt x="97731" y="102631"/>
                    </a:lnTo>
                    <a:lnTo>
                      <a:pt x="96082" y="101578"/>
                    </a:lnTo>
                    <a:lnTo>
                      <a:pt x="94432" y="101052"/>
                    </a:lnTo>
                    <a:lnTo>
                      <a:pt x="92783" y="95263"/>
                    </a:lnTo>
                    <a:lnTo>
                      <a:pt x="91958" y="93157"/>
                    </a:lnTo>
                    <a:lnTo>
                      <a:pt x="90721" y="91578"/>
                    </a:lnTo>
                    <a:lnTo>
                      <a:pt x="90309" y="90526"/>
                    </a:lnTo>
                    <a:lnTo>
                      <a:pt x="89072" y="88947"/>
                    </a:lnTo>
                    <a:lnTo>
                      <a:pt x="87835" y="87894"/>
                    </a:lnTo>
                    <a:lnTo>
                      <a:pt x="88247" y="85789"/>
                    </a:lnTo>
                    <a:lnTo>
                      <a:pt x="88659" y="84736"/>
                    </a:lnTo>
                    <a:lnTo>
                      <a:pt x="87422" y="81578"/>
                    </a:lnTo>
                    <a:lnTo>
                      <a:pt x="86185" y="82105"/>
                    </a:lnTo>
                    <a:lnTo>
                      <a:pt x="86185" y="83157"/>
                    </a:lnTo>
                    <a:lnTo>
                      <a:pt x="86185" y="85789"/>
                    </a:lnTo>
                    <a:lnTo>
                      <a:pt x="85360" y="85789"/>
                    </a:lnTo>
                    <a:lnTo>
                      <a:pt x="84536" y="84736"/>
                    </a:lnTo>
                    <a:lnTo>
                      <a:pt x="83298" y="83157"/>
                    </a:lnTo>
                    <a:lnTo>
                      <a:pt x="81237" y="78947"/>
                    </a:lnTo>
                    <a:lnTo>
                      <a:pt x="80000" y="77368"/>
                    </a:lnTo>
                    <a:lnTo>
                      <a:pt x="79587" y="76842"/>
                    </a:lnTo>
                    <a:lnTo>
                      <a:pt x="80000" y="75789"/>
                    </a:lnTo>
                    <a:lnTo>
                      <a:pt x="79175" y="73684"/>
                    </a:lnTo>
                    <a:lnTo>
                      <a:pt x="77938" y="73157"/>
                    </a:lnTo>
                    <a:lnTo>
                      <a:pt x="79175" y="70000"/>
                    </a:lnTo>
                    <a:lnTo>
                      <a:pt x="80000" y="68421"/>
                    </a:lnTo>
                    <a:lnTo>
                      <a:pt x="80412" y="66842"/>
                    </a:lnTo>
                    <a:lnTo>
                      <a:pt x="80824" y="65263"/>
                    </a:lnTo>
                    <a:lnTo>
                      <a:pt x="80000" y="63684"/>
                    </a:lnTo>
                    <a:lnTo>
                      <a:pt x="79587" y="65789"/>
                    </a:lnTo>
                    <a:lnTo>
                      <a:pt x="78762" y="65263"/>
                    </a:lnTo>
                    <a:lnTo>
                      <a:pt x="78762" y="64210"/>
                    </a:lnTo>
                    <a:lnTo>
                      <a:pt x="77525" y="62105"/>
                    </a:lnTo>
                    <a:lnTo>
                      <a:pt x="77113" y="62105"/>
                    </a:lnTo>
                    <a:lnTo>
                      <a:pt x="77113" y="62631"/>
                    </a:lnTo>
                    <a:lnTo>
                      <a:pt x="77525" y="63684"/>
                    </a:lnTo>
                    <a:lnTo>
                      <a:pt x="77938" y="65263"/>
                    </a:lnTo>
                    <a:lnTo>
                      <a:pt x="77938" y="66842"/>
                    </a:lnTo>
                    <a:lnTo>
                      <a:pt x="77938" y="67368"/>
                    </a:lnTo>
                    <a:lnTo>
                      <a:pt x="77113" y="68421"/>
                    </a:lnTo>
                    <a:lnTo>
                      <a:pt x="76701" y="67894"/>
                    </a:lnTo>
                    <a:lnTo>
                      <a:pt x="75876" y="66842"/>
                    </a:lnTo>
                    <a:lnTo>
                      <a:pt x="74639" y="64210"/>
                    </a:lnTo>
                    <a:lnTo>
                      <a:pt x="74226" y="63157"/>
                    </a:lnTo>
                    <a:lnTo>
                      <a:pt x="74226" y="61052"/>
                    </a:lnTo>
                    <a:lnTo>
                      <a:pt x="74226" y="57894"/>
                    </a:lnTo>
                    <a:lnTo>
                      <a:pt x="75051" y="55789"/>
                    </a:lnTo>
                    <a:lnTo>
                      <a:pt x="75463" y="51578"/>
                    </a:lnTo>
                    <a:lnTo>
                      <a:pt x="75463" y="48947"/>
                    </a:lnTo>
                    <a:lnTo>
                      <a:pt x="75051" y="45263"/>
                    </a:lnTo>
                    <a:lnTo>
                      <a:pt x="74226" y="41578"/>
                    </a:lnTo>
                    <a:lnTo>
                      <a:pt x="72989" y="40526"/>
                    </a:lnTo>
                    <a:lnTo>
                      <a:pt x="71752" y="37894"/>
                    </a:lnTo>
                    <a:lnTo>
                      <a:pt x="69278" y="37368"/>
                    </a:lnTo>
                    <a:lnTo>
                      <a:pt x="68041" y="37368"/>
                    </a:lnTo>
                    <a:lnTo>
                      <a:pt x="67216" y="35263"/>
                    </a:lnTo>
                    <a:lnTo>
                      <a:pt x="65979" y="34736"/>
                    </a:lnTo>
                    <a:lnTo>
                      <a:pt x="64329" y="32105"/>
                    </a:lnTo>
                    <a:lnTo>
                      <a:pt x="62680" y="31578"/>
                    </a:lnTo>
                    <a:lnTo>
                      <a:pt x="62268" y="28947"/>
                    </a:lnTo>
                    <a:lnTo>
                      <a:pt x="61443" y="27894"/>
                    </a:lnTo>
                    <a:lnTo>
                      <a:pt x="58969" y="25263"/>
                    </a:lnTo>
                    <a:lnTo>
                      <a:pt x="56907" y="23157"/>
                    </a:lnTo>
                    <a:lnTo>
                      <a:pt x="55257" y="22105"/>
                    </a:lnTo>
                    <a:lnTo>
                      <a:pt x="53608" y="20526"/>
                    </a:lnTo>
                    <a:lnTo>
                      <a:pt x="52371" y="20000"/>
                    </a:lnTo>
                    <a:lnTo>
                      <a:pt x="50309" y="20000"/>
                    </a:lnTo>
                    <a:lnTo>
                      <a:pt x="48247" y="20526"/>
                    </a:lnTo>
                    <a:lnTo>
                      <a:pt x="47835" y="22105"/>
                    </a:lnTo>
                    <a:lnTo>
                      <a:pt x="48247" y="23684"/>
                    </a:lnTo>
                    <a:lnTo>
                      <a:pt x="47835" y="24736"/>
                    </a:lnTo>
                    <a:lnTo>
                      <a:pt x="47010" y="24736"/>
                    </a:lnTo>
                    <a:lnTo>
                      <a:pt x="46185" y="23684"/>
                    </a:lnTo>
                    <a:lnTo>
                      <a:pt x="44123" y="25789"/>
                    </a:lnTo>
                    <a:lnTo>
                      <a:pt x="41649" y="28421"/>
                    </a:lnTo>
                    <a:lnTo>
                      <a:pt x="38762" y="29473"/>
                    </a:lnTo>
                    <a:lnTo>
                      <a:pt x="34226" y="31052"/>
                    </a:lnTo>
                    <a:lnTo>
                      <a:pt x="34226" y="27894"/>
                    </a:lnTo>
                    <a:lnTo>
                      <a:pt x="32989" y="26315"/>
                    </a:lnTo>
                    <a:lnTo>
                      <a:pt x="31752" y="25789"/>
                    </a:lnTo>
                    <a:lnTo>
                      <a:pt x="29690" y="24210"/>
                    </a:lnTo>
                    <a:lnTo>
                      <a:pt x="31340" y="23157"/>
                    </a:lnTo>
                    <a:lnTo>
                      <a:pt x="31752" y="22631"/>
                    </a:lnTo>
                    <a:lnTo>
                      <a:pt x="28865" y="22105"/>
                    </a:lnTo>
                    <a:lnTo>
                      <a:pt x="28865" y="20526"/>
                    </a:lnTo>
                    <a:lnTo>
                      <a:pt x="29690" y="20526"/>
                    </a:lnTo>
                    <a:lnTo>
                      <a:pt x="30103" y="19473"/>
                    </a:lnTo>
                    <a:lnTo>
                      <a:pt x="30103" y="18421"/>
                    </a:lnTo>
                    <a:lnTo>
                      <a:pt x="29690" y="18421"/>
                    </a:lnTo>
                    <a:lnTo>
                      <a:pt x="28865" y="18947"/>
                    </a:lnTo>
                    <a:lnTo>
                      <a:pt x="28865" y="19473"/>
                    </a:lnTo>
                    <a:lnTo>
                      <a:pt x="28453" y="20000"/>
                    </a:lnTo>
                    <a:lnTo>
                      <a:pt x="27628" y="18947"/>
                    </a:lnTo>
                    <a:lnTo>
                      <a:pt x="25567" y="18947"/>
                    </a:lnTo>
                    <a:lnTo>
                      <a:pt x="26391" y="20526"/>
                    </a:lnTo>
                    <a:lnTo>
                      <a:pt x="26804" y="20526"/>
                    </a:lnTo>
                    <a:lnTo>
                      <a:pt x="27216" y="22631"/>
                    </a:lnTo>
                    <a:lnTo>
                      <a:pt x="26804" y="22631"/>
                    </a:lnTo>
                    <a:lnTo>
                      <a:pt x="25154" y="21578"/>
                    </a:lnTo>
                    <a:lnTo>
                      <a:pt x="23505" y="20000"/>
                    </a:lnTo>
                    <a:lnTo>
                      <a:pt x="21855" y="19473"/>
                    </a:lnTo>
                    <a:lnTo>
                      <a:pt x="18144" y="19473"/>
                    </a:lnTo>
                    <a:lnTo>
                      <a:pt x="16907" y="18421"/>
                    </a:lnTo>
                    <a:lnTo>
                      <a:pt x="16082" y="17368"/>
                    </a:lnTo>
                    <a:lnTo>
                      <a:pt x="14845" y="17368"/>
                    </a:lnTo>
                    <a:lnTo>
                      <a:pt x="10721" y="18421"/>
                    </a:lnTo>
                    <a:lnTo>
                      <a:pt x="7835" y="18421"/>
                    </a:lnTo>
                    <a:lnTo>
                      <a:pt x="5773" y="20000"/>
                    </a:lnTo>
                    <a:lnTo>
                      <a:pt x="4536" y="20526"/>
                    </a:lnTo>
                    <a:lnTo>
                      <a:pt x="2886" y="16842"/>
                    </a:lnTo>
                    <a:lnTo>
                      <a:pt x="2474" y="14210"/>
                    </a:lnTo>
                    <a:lnTo>
                      <a:pt x="824" y="11578"/>
                    </a:lnTo>
                    <a:lnTo>
                      <a:pt x="0" y="10526"/>
                    </a:lnTo>
                    <a:lnTo>
                      <a:pt x="0" y="8947"/>
                    </a:lnTo>
                    <a:lnTo>
                      <a:pt x="1237" y="8421"/>
                    </a:lnTo>
                    <a:lnTo>
                      <a:pt x="4123" y="7368"/>
                    </a:lnTo>
                    <a:lnTo>
                      <a:pt x="7422" y="6315"/>
                    </a:lnTo>
                    <a:lnTo>
                      <a:pt x="38350" y="3157"/>
                    </a:lnTo>
                    <a:lnTo>
                      <a:pt x="40412" y="8421"/>
                    </a:lnTo>
                    <a:lnTo>
                      <a:pt x="77938" y="5789"/>
                    </a:lnTo>
                    <a:lnTo>
                      <a:pt x="78350" y="10000"/>
                    </a:lnTo>
                    <a:lnTo>
                      <a:pt x="81237" y="10000"/>
                    </a:lnTo>
                    <a:lnTo>
                      <a:pt x="80000" y="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79" name="Shape 1414">
                <a:extLst>
                  <a:ext uri="{FF2B5EF4-FFF2-40B4-BE49-F238E27FC236}">
                    <a16:creationId xmlns:a16="http://schemas.microsoft.com/office/drawing/2014/main" id="{944169C4-9498-4C0A-8A73-42F1C79C92BB}"/>
                  </a:ext>
                </a:extLst>
              </p:cNvPr>
              <p:cNvSpPr/>
              <p:nvPr/>
            </p:nvSpPr>
            <p:spPr>
              <a:xfrm>
                <a:off x="8455786" y="4422030"/>
                <a:ext cx="743302" cy="657708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19340" y="111055"/>
                    </a:moveTo>
                    <a:lnTo>
                      <a:pt x="118021" y="111055"/>
                    </a:lnTo>
                    <a:lnTo>
                      <a:pt x="116043" y="109565"/>
                    </a:lnTo>
                    <a:lnTo>
                      <a:pt x="115384" y="109565"/>
                    </a:lnTo>
                    <a:lnTo>
                      <a:pt x="114065" y="109565"/>
                    </a:lnTo>
                    <a:lnTo>
                      <a:pt x="112747" y="108819"/>
                    </a:lnTo>
                    <a:lnTo>
                      <a:pt x="109450" y="106583"/>
                    </a:lnTo>
                    <a:lnTo>
                      <a:pt x="108791" y="106583"/>
                    </a:lnTo>
                    <a:lnTo>
                      <a:pt x="105494" y="103602"/>
                    </a:lnTo>
                    <a:lnTo>
                      <a:pt x="104175" y="102111"/>
                    </a:lnTo>
                    <a:lnTo>
                      <a:pt x="102197" y="101366"/>
                    </a:lnTo>
                    <a:lnTo>
                      <a:pt x="100219" y="99875"/>
                    </a:lnTo>
                    <a:lnTo>
                      <a:pt x="98901" y="98385"/>
                    </a:lnTo>
                    <a:lnTo>
                      <a:pt x="100879" y="98385"/>
                    </a:lnTo>
                    <a:lnTo>
                      <a:pt x="102197" y="96894"/>
                    </a:lnTo>
                    <a:lnTo>
                      <a:pt x="105494" y="96894"/>
                    </a:lnTo>
                    <a:lnTo>
                      <a:pt x="106153" y="95403"/>
                    </a:lnTo>
                    <a:lnTo>
                      <a:pt x="109450" y="95403"/>
                    </a:lnTo>
                    <a:lnTo>
                      <a:pt x="110769" y="93913"/>
                    </a:lnTo>
                    <a:lnTo>
                      <a:pt x="108791" y="90186"/>
                    </a:lnTo>
                    <a:lnTo>
                      <a:pt x="106813" y="87950"/>
                    </a:lnTo>
                    <a:lnTo>
                      <a:pt x="106153" y="87950"/>
                    </a:lnTo>
                    <a:lnTo>
                      <a:pt x="99560" y="90186"/>
                    </a:lnTo>
                    <a:lnTo>
                      <a:pt x="97582" y="90931"/>
                    </a:lnTo>
                    <a:lnTo>
                      <a:pt x="95604" y="90931"/>
                    </a:lnTo>
                    <a:lnTo>
                      <a:pt x="95604" y="90186"/>
                    </a:lnTo>
                    <a:lnTo>
                      <a:pt x="97582" y="88695"/>
                    </a:lnTo>
                    <a:lnTo>
                      <a:pt x="99560" y="87950"/>
                    </a:lnTo>
                    <a:lnTo>
                      <a:pt x="101538" y="86459"/>
                    </a:lnTo>
                    <a:lnTo>
                      <a:pt x="101538" y="84968"/>
                    </a:lnTo>
                    <a:lnTo>
                      <a:pt x="101538" y="81987"/>
                    </a:lnTo>
                    <a:lnTo>
                      <a:pt x="100879" y="76770"/>
                    </a:lnTo>
                    <a:lnTo>
                      <a:pt x="98901" y="73788"/>
                    </a:lnTo>
                    <a:lnTo>
                      <a:pt x="97582" y="70807"/>
                    </a:lnTo>
                    <a:lnTo>
                      <a:pt x="98241" y="58881"/>
                    </a:lnTo>
                    <a:lnTo>
                      <a:pt x="55384" y="61118"/>
                    </a:lnTo>
                    <a:lnTo>
                      <a:pt x="54725" y="58136"/>
                    </a:lnTo>
                    <a:lnTo>
                      <a:pt x="54725" y="55900"/>
                    </a:lnTo>
                    <a:lnTo>
                      <a:pt x="55384" y="54409"/>
                    </a:lnTo>
                    <a:lnTo>
                      <a:pt x="57362" y="52919"/>
                    </a:lnTo>
                    <a:lnTo>
                      <a:pt x="57362" y="49192"/>
                    </a:lnTo>
                    <a:lnTo>
                      <a:pt x="57362" y="47701"/>
                    </a:lnTo>
                    <a:lnTo>
                      <a:pt x="58021" y="45465"/>
                    </a:lnTo>
                    <a:lnTo>
                      <a:pt x="58681" y="44720"/>
                    </a:lnTo>
                    <a:lnTo>
                      <a:pt x="59340" y="43229"/>
                    </a:lnTo>
                    <a:lnTo>
                      <a:pt x="60000" y="38012"/>
                    </a:lnTo>
                    <a:lnTo>
                      <a:pt x="61318" y="36521"/>
                    </a:lnTo>
                    <a:lnTo>
                      <a:pt x="63956" y="32049"/>
                    </a:lnTo>
                    <a:lnTo>
                      <a:pt x="64615" y="30559"/>
                    </a:lnTo>
                    <a:lnTo>
                      <a:pt x="64615" y="27577"/>
                    </a:lnTo>
                    <a:lnTo>
                      <a:pt x="65274" y="27577"/>
                    </a:lnTo>
                    <a:lnTo>
                      <a:pt x="67252" y="25341"/>
                    </a:lnTo>
                    <a:lnTo>
                      <a:pt x="67912" y="19378"/>
                    </a:lnTo>
                    <a:lnTo>
                      <a:pt x="67252" y="17142"/>
                    </a:lnTo>
                    <a:lnTo>
                      <a:pt x="65274" y="15652"/>
                    </a:lnTo>
                    <a:lnTo>
                      <a:pt x="65274" y="14161"/>
                    </a:lnTo>
                    <a:lnTo>
                      <a:pt x="64615" y="10434"/>
                    </a:lnTo>
                    <a:lnTo>
                      <a:pt x="64615" y="9689"/>
                    </a:lnTo>
                    <a:lnTo>
                      <a:pt x="63956" y="8198"/>
                    </a:lnTo>
                    <a:lnTo>
                      <a:pt x="61978" y="6708"/>
                    </a:lnTo>
                    <a:lnTo>
                      <a:pt x="64615" y="5217"/>
                    </a:lnTo>
                    <a:lnTo>
                      <a:pt x="64615" y="3726"/>
                    </a:lnTo>
                    <a:lnTo>
                      <a:pt x="63956" y="1490"/>
                    </a:lnTo>
                    <a:lnTo>
                      <a:pt x="61978" y="0"/>
                    </a:lnTo>
                    <a:lnTo>
                      <a:pt x="0" y="2236"/>
                    </a:lnTo>
                    <a:lnTo>
                      <a:pt x="0" y="35031"/>
                    </a:lnTo>
                    <a:lnTo>
                      <a:pt x="4615" y="39503"/>
                    </a:lnTo>
                    <a:lnTo>
                      <a:pt x="4615" y="40993"/>
                    </a:lnTo>
                    <a:lnTo>
                      <a:pt x="7252" y="47701"/>
                    </a:lnTo>
                    <a:lnTo>
                      <a:pt x="7912" y="49192"/>
                    </a:lnTo>
                    <a:lnTo>
                      <a:pt x="7912" y="53664"/>
                    </a:lnTo>
                    <a:lnTo>
                      <a:pt x="8571" y="55900"/>
                    </a:lnTo>
                    <a:lnTo>
                      <a:pt x="9890" y="61863"/>
                    </a:lnTo>
                    <a:lnTo>
                      <a:pt x="11208" y="66335"/>
                    </a:lnTo>
                    <a:lnTo>
                      <a:pt x="8571" y="70062"/>
                    </a:lnTo>
                    <a:lnTo>
                      <a:pt x="7252" y="76024"/>
                    </a:lnTo>
                    <a:lnTo>
                      <a:pt x="7252" y="78260"/>
                    </a:lnTo>
                    <a:lnTo>
                      <a:pt x="5934" y="81987"/>
                    </a:lnTo>
                    <a:lnTo>
                      <a:pt x="7912" y="87204"/>
                    </a:lnTo>
                    <a:lnTo>
                      <a:pt x="7912" y="90186"/>
                    </a:lnTo>
                    <a:lnTo>
                      <a:pt x="5934" y="97639"/>
                    </a:lnTo>
                    <a:lnTo>
                      <a:pt x="3956" y="101366"/>
                    </a:lnTo>
                    <a:lnTo>
                      <a:pt x="6593" y="101366"/>
                    </a:lnTo>
                    <a:lnTo>
                      <a:pt x="9890" y="101366"/>
                    </a:lnTo>
                    <a:lnTo>
                      <a:pt x="11868" y="99875"/>
                    </a:lnTo>
                    <a:lnTo>
                      <a:pt x="14505" y="99875"/>
                    </a:lnTo>
                    <a:lnTo>
                      <a:pt x="16483" y="99875"/>
                    </a:lnTo>
                    <a:lnTo>
                      <a:pt x="22417" y="101366"/>
                    </a:lnTo>
                    <a:lnTo>
                      <a:pt x="25714" y="102111"/>
                    </a:lnTo>
                    <a:lnTo>
                      <a:pt x="29010" y="103602"/>
                    </a:lnTo>
                    <a:lnTo>
                      <a:pt x="33626" y="105838"/>
                    </a:lnTo>
                    <a:lnTo>
                      <a:pt x="42197" y="105838"/>
                    </a:lnTo>
                    <a:lnTo>
                      <a:pt x="47472" y="105838"/>
                    </a:lnTo>
                    <a:lnTo>
                      <a:pt x="52087" y="105838"/>
                    </a:lnTo>
                    <a:lnTo>
                      <a:pt x="52747" y="105093"/>
                    </a:lnTo>
                    <a:lnTo>
                      <a:pt x="51428" y="102857"/>
                    </a:lnTo>
                    <a:lnTo>
                      <a:pt x="48131" y="102857"/>
                    </a:lnTo>
                    <a:lnTo>
                      <a:pt x="47472" y="102857"/>
                    </a:lnTo>
                    <a:lnTo>
                      <a:pt x="46153" y="102111"/>
                    </a:lnTo>
                    <a:lnTo>
                      <a:pt x="46813" y="99875"/>
                    </a:lnTo>
                    <a:lnTo>
                      <a:pt x="47472" y="98385"/>
                    </a:lnTo>
                    <a:lnTo>
                      <a:pt x="50769" y="98385"/>
                    </a:lnTo>
                    <a:lnTo>
                      <a:pt x="55384" y="100621"/>
                    </a:lnTo>
                    <a:lnTo>
                      <a:pt x="60000" y="105093"/>
                    </a:lnTo>
                    <a:lnTo>
                      <a:pt x="63956" y="105838"/>
                    </a:lnTo>
                    <a:lnTo>
                      <a:pt x="66593" y="104347"/>
                    </a:lnTo>
                    <a:lnTo>
                      <a:pt x="65934" y="107329"/>
                    </a:lnTo>
                    <a:lnTo>
                      <a:pt x="64615" y="111801"/>
                    </a:lnTo>
                    <a:lnTo>
                      <a:pt x="65934" y="114037"/>
                    </a:lnTo>
                    <a:lnTo>
                      <a:pt x="69890" y="115527"/>
                    </a:lnTo>
                    <a:lnTo>
                      <a:pt x="73186" y="115527"/>
                    </a:lnTo>
                    <a:lnTo>
                      <a:pt x="75824" y="117763"/>
                    </a:lnTo>
                    <a:lnTo>
                      <a:pt x="78461" y="117763"/>
                    </a:lnTo>
                    <a:lnTo>
                      <a:pt x="79780" y="114782"/>
                    </a:lnTo>
                    <a:lnTo>
                      <a:pt x="82417" y="111801"/>
                    </a:lnTo>
                    <a:lnTo>
                      <a:pt x="84395" y="111055"/>
                    </a:lnTo>
                    <a:lnTo>
                      <a:pt x="87032" y="111801"/>
                    </a:lnTo>
                    <a:lnTo>
                      <a:pt x="89670" y="115527"/>
                    </a:lnTo>
                    <a:lnTo>
                      <a:pt x="92307" y="115527"/>
                    </a:lnTo>
                    <a:lnTo>
                      <a:pt x="93626" y="114037"/>
                    </a:lnTo>
                    <a:lnTo>
                      <a:pt x="92307" y="108074"/>
                    </a:lnTo>
                    <a:lnTo>
                      <a:pt x="92307" y="106583"/>
                    </a:lnTo>
                    <a:lnTo>
                      <a:pt x="93626" y="105093"/>
                    </a:lnTo>
                    <a:lnTo>
                      <a:pt x="96263" y="105093"/>
                    </a:lnTo>
                    <a:lnTo>
                      <a:pt x="98901" y="106583"/>
                    </a:lnTo>
                    <a:lnTo>
                      <a:pt x="98901" y="109565"/>
                    </a:lnTo>
                    <a:lnTo>
                      <a:pt x="104175" y="110310"/>
                    </a:lnTo>
                    <a:lnTo>
                      <a:pt x="108791" y="112546"/>
                    </a:lnTo>
                    <a:lnTo>
                      <a:pt x="110769" y="114782"/>
                    </a:lnTo>
                    <a:lnTo>
                      <a:pt x="109450" y="117018"/>
                    </a:lnTo>
                    <a:lnTo>
                      <a:pt x="108791" y="120000"/>
                    </a:lnTo>
                    <a:lnTo>
                      <a:pt x="111428" y="120000"/>
                    </a:lnTo>
                    <a:lnTo>
                      <a:pt x="112747" y="117763"/>
                    </a:lnTo>
                    <a:lnTo>
                      <a:pt x="114065" y="116273"/>
                    </a:lnTo>
                    <a:lnTo>
                      <a:pt x="116043" y="117763"/>
                    </a:lnTo>
                    <a:lnTo>
                      <a:pt x="116043" y="119254"/>
                    </a:lnTo>
                    <a:lnTo>
                      <a:pt x="117362" y="117018"/>
                    </a:lnTo>
                    <a:lnTo>
                      <a:pt x="119340" y="114782"/>
                    </a:lnTo>
                    <a:lnTo>
                      <a:pt x="120000" y="114037"/>
                    </a:lnTo>
                    <a:lnTo>
                      <a:pt x="119340" y="111055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80" name="Shape 1415">
                <a:extLst>
                  <a:ext uri="{FF2B5EF4-FFF2-40B4-BE49-F238E27FC236}">
                    <a16:creationId xmlns:a16="http://schemas.microsoft.com/office/drawing/2014/main" id="{8549FB06-CB1D-47F4-A378-B3866334C133}"/>
                  </a:ext>
                </a:extLst>
              </p:cNvPr>
              <p:cNvSpPr/>
              <p:nvPr/>
            </p:nvSpPr>
            <p:spPr>
              <a:xfrm>
                <a:off x="8365934" y="3833773"/>
                <a:ext cx="665701" cy="600514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4417" y="100408"/>
                    </a:moveTo>
                    <a:lnTo>
                      <a:pt x="2944" y="98775"/>
                    </a:lnTo>
                    <a:lnTo>
                      <a:pt x="5153" y="101224"/>
                    </a:lnTo>
                    <a:lnTo>
                      <a:pt x="7361" y="102040"/>
                    </a:lnTo>
                    <a:lnTo>
                      <a:pt x="8834" y="100408"/>
                    </a:lnTo>
                    <a:lnTo>
                      <a:pt x="16196" y="101224"/>
                    </a:lnTo>
                    <a:lnTo>
                      <a:pt x="16196" y="120000"/>
                    </a:lnTo>
                    <a:lnTo>
                      <a:pt x="85398" y="117551"/>
                    </a:lnTo>
                    <a:lnTo>
                      <a:pt x="86134" y="117551"/>
                    </a:lnTo>
                    <a:lnTo>
                      <a:pt x="87607" y="113469"/>
                    </a:lnTo>
                    <a:lnTo>
                      <a:pt x="88343" y="111020"/>
                    </a:lnTo>
                    <a:lnTo>
                      <a:pt x="87607" y="108571"/>
                    </a:lnTo>
                    <a:lnTo>
                      <a:pt x="87607" y="103673"/>
                    </a:lnTo>
                    <a:lnTo>
                      <a:pt x="87607" y="102040"/>
                    </a:lnTo>
                    <a:lnTo>
                      <a:pt x="86134" y="99591"/>
                    </a:lnTo>
                    <a:lnTo>
                      <a:pt x="85398" y="98775"/>
                    </a:lnTo>
                    <a:lnTo>
                      <a:pt x="85398" y="97142"/>
                    </a:lnTo>
                    <a:lnTo>
                      <a:pt x="86134" y="95510"/>
                    </a:lnTo>
                    <a:lnTo>
                      <a:pt x="85398" y="94693"/>
                    </a:lnTo>
                    <a:lnTo>
                      <a:pt x="86871" y="92244"/>
                    </a:lnTo>
                    <a:lnTo>
                      <a:pt x="89079" y="88979"/>
                    </a:lnTo>
                    <a:lnTo>
                      <a:pt x="89815" y="88979"/>
                    </a:lnTo>
                    <a:lnTo>
                      <a:pt x="89079" y="87346"/>
                    </a:lnTo>
                    <a:lnTo>
                      <a:pt x="90552" y="84081"/>
                    </a:lnTo>
                    <a:lnTo>
                      <a:pt x="92024" y="81632"/>
                    </a:lnTo>
                    <a:lnTo>
                      <a:pt x="90552" y="80816"/>
                    </a:lnTo>
                    <a:lnTo>
                      <a:pt x="91288" y="77551"/>
                    </a:lnTo>
                    <a:lnTo>
                      <a:pt x="93496" y="75102"/>
                    </a:lnTo>
                    <a:lnTo>
                      <a:pt x="97177" y="70204"/>
                    </a:lnTo>
                    <a:lnTo>
                      <a:pt x="99386" y="66122"/>
                    </a:lnTo>
                    <a:lnTo>
                      <a:pt x="99386" y="62857"/>
                    </a:lnTo>
                    <a:lnTo>
                      <a:pt x="100858" y="58775"/>
                    </a:lnTo>
                    <a:lnTo>
                      <a:pt x="101595" y="58775"/>
                    </a:lnTo>
                    <a:lnTo>
                      <a:pt x="103067" y="57142"/>
                    </a:lnTo>
                    <a:lnTo>
                      <a:pt x="103803" y="54693"/>
                    </a:lnTo>
                    <a:lnTo>
                      <a:pt x="105276" y="53061"/>
                    </a:lnTo>
                    <a:lnTo>
                      <a:pt x="108220" y="51428"/>
                    </a:lnTo>
                    <a:lnTo>
                      <a:pt x="107484" y="48979"/>
                    </a:lnTo>
                    <a:lnTo>
                      <a:pt x="108957" y="47346"/>
                    </a:lnTo>
                    <a:lnTo>
                      <a:pt x="110429" y="44081"/>
                    </a:lnTo>
                    <a:lnTo>
                      <a:pt x="110429" y="39183"/>
                    </a:lnTo>
                    <a:lnTo>
                      <a:pt x="110429" y="35102"/>
                    </a:lnTo>
                    <a:lnTo>
                      <a:pt x="112638" y="31836"/>
                    </a:lnTo>
                    <a:lnTo>
                      <a:pt x="114846" y="30204"/>
                    </a:lnTo>
                    <a:lnTo>
                      <a:pt x="114846" y="28571"/>
                    </a:lnTo>
                    <a:lnTo>
                      <a:pt x="115582" y="26938"/>
                    </a:lnTo>
                    <a:lnTo>
                      <a:pt x="115582" y="23673"/>
                    </a:lnTo>
                    <a:lnTo>
                      <a:pt x="117791" y="22857"/>
                    </a:lnTo>
                    <a:lnTo>
                      <a:pt x="118527" y="21224"/>
                    </a:lnTo>
                    <a:lnTo>
                      <a:pt x="119263" y="19591"/>
                    </a:lnTo>
                    <a:lnTo>
                      <a:pt x="120000" y="17959"/>
                    </a:lnTo>
                    <a:lnTo>
                      <a:pt x="120000" y="15510"/>
                    </a:lnTo>
                    <a:lnTo>
                      <a:pt x="101595" y="16326"/>
                    </a:lnTo>
                    <a:lnTo>
                      <a:pt x="108957" y="4081"/>
                    </a:lnTo>
                    <a:lnTo>
                      <a:pt x="108220" y="0"/>
                    </a:lnTo>
                    <a:lnTo>
                      <a:pt x="0" y="3265"/>
                    </a:lnTo>
                    <a:lnTo>
                      <a:pt x="5153" y="38367"/>
                    </a:lnTo>
                    <a:lnTo>
                      <a:pt x="4417" y="100408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81" name="Shape 1416">
                <a:extLst>
                  <a:ext uri="{FF2B5EF4-FFF2-40B4-BE49-F238E27FC236}">
                    <a16:creationId xmlns:a16="http://schemas.microsoft.com/office/drawing/2014/main" id="{1A65F25C-5369-4E03-8ECD-3FBF8BB6D82B}"/>
                  </a:ext>
                </a:extLst>
              </p:cNvPr>
              <p:cNvSpPr/>
              <p:nvPr/>
            </p:nvSpPr>
            <p:spPr>
              <a:xfrm>
                <a:off x="8962212" y="3711220"/>
                <a:ext cx="1127201" cy="367657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71042" y="15700"/>
                    </a:moveTo>
                    <a:cubicBezTo>
                      <a:pt x="30552" y="23551"/>
                      <a:pt x="30552" y="23551"/>
                      <a:pt x="30552" y="23551"/>
                    </a:cubicBezTo>
                    <a:cubicBezTo>
                      <a:pt x="31288" y="34766"/>
                      <a:pt x="31288" y="34766"/>
                      <a:pt x="31288" y="34766"/>
                    </a:cubicBezTo>
                    <a:cubicBezTo>
                      <a:pt x="9570" y="35887"/>
                      <a:pt x="9570" y="35887"/>
                      <a:pt x="9570" y="35887"/>
                    </a:cubicBezTo>
                    <a:cubicBezTo>
                      <a:pt x="8834" y="37009"/>
                      <a:pt x="8834" y="37009"/>
                      <a:pt x="8834" y="37009"/>
                    </a:cubicBezTo>
                    <a:cubicBezTo>
                      <a:pt x="8834" y="40373"/>
                      <a:pt x="8834" y="40373"/>
                      <a:pt x="8834" y="40373"/>
                    </a:cubicBezTo>
                    <a:cubicBezTo>
                      <a:pt x="8834" y="43738"/>
                      <a:pt x="8834" y="43738"/>
                      <a:pt x="8834" y="43738"/>
                    </a:cubicBezTo>
                    <a:cubicBezTo>
                      <a:pt x="8466" y="47102"/>
                      <a:pt x="8466" y="47102"/>
                      <a:pt x="8466" y="47102"/>
                    </a:cubicBezTo>
                    <a:cubicBezTo>
                      <a:pt x="7730" y="48224"/>
                      <a:pt x="7730" y="48224"/>
                      <a:pt x="7730" y="48224"/>
                    </a:cubicBezTo>
                    <a:cubicBezTo>
                      <a:pt x="7361" y="50467"/>
                      <a:pt x="7361" y="50467"/>
                      <a:pt x="7361" y="50467"/>
                    </a:cubicBezTo>
                    <a:cubicBezTo>
                      <a:pt x="7730" y="51588"/>
                      <a:pt x="7730" y="51588"/>
                      <a:pt x="7730" y="51588"/>
                    </a:cubicBezTo>
                    <a:cubicBezTo>
                      <a:pt x="7730" y="51588"/>
                      <a:pt x="8466" y="54953"/>
                      <a:pt x="8466" y="56074"/>
                    </a:cubicBezTo>
                    <a:cubicBezTo>
                      <a:pt x="8834" y="57196"/>
                      <a:pt x="8098" y="58317"/>
                      <a:pt x="8098" y="58317"/>
                    </a:cubicBezTo>
                    <a:cubicBezTo>
                      <a:pt x="7361" y="61682"/>
                      <a:pt x="7361" y="61682"/>
                      <a:pt x="7361" y="61682"/>
                    </a:cubicBezTo>
                    <a:cubicBezTo>
                      <a:pt x="6993" y="65046"/>
                      <a:pt x="6993" y="65046"/>
                      <a:pt x="6993" y="65046"/>
                    </a:cubicBezTo>
                    <a:cubicBezTo>
                      <a:pt x="7361" y="65046"/>
                      <a:pt x="7361" y="65046"/>
                      <a:pt x="7361" y="65046"/>
                    </a:cubicBezTo>
                    <a:cubicBezTo>
                      <a:pt x="7361" y="69532"/>
                      <a:pt x="7361" y="69532"/>
                      <a:pt x="7361" y="69532"/>
                    </a:cubicBezTo>
                    <a:cubicBezTo>
                      <a:pt x="6993" y="71775"/>
                      <a:pt x="6993" y="71775"/>
                      <a:pt x="6993" y="71775"/>
                    </a:cubicBezTo>
                    <a:cubicBezTo>
                      <a:pt x="6625" y="74018"/>
                      <a:pt x="6625" y="74018"/>
                      <a:pt x="6625" y="74018"/>
                    </a:cubicBezTo>
                    <a:cubicBezTo>
                      <a:pt x="5889" y="77383"/>
                      <a:pt x="5889" y="77383"/>
                      <a:pt x="5889" y="77383"/>
                    </a:cubicBezTo>
                    <a:cubicBezTo>
                      <a:pt x="4785" y="78504"/>
                      <a:pt x="4785" y="78504"/>
                      <a:pt x="4785" y="78504"/>
                    </a:cubicBezTo>
                    <a:cubicBezTo>
                      <a:pt x="4785" y="84112"/>
                      <a:pt x="4785" y="84112"/>
                      <a:pt x="4785" y="84112"/>
                    </a:cubicBezTo>
                    <a:cubicBezTo>
                      <a:pt x="4417" y="86355"/>
                      <a:pt x="4417" y="86355"/>
                      <a:pt x="4417" y="86355"/>
                    </a:cubicBezTo>
                    <a:cubicBezTo>
                      <a:pt x="4417" y="88598"/>
                      <a:pt x="4417" y="88598"/>
                      <a:pt x="4417" y="88598"/>
                    </a:cubicBezTo>
                    <a:cubicBezTo>
                      <a:pt x="2944" y="91962"/>
                      <a:pt x="2944" y="91962"/>
                      <a:pt x="2944" y="91962"/>
                    </a:cubicBezTo>
                    <a:cubicBezTo>
                      <a:pt x="1840" y="97570"/>
                      <a:pt x="1840" y="97570"/>
                      <a:pt x="1840" y="97570"/>
                    </a:cubicBezTo>
                    <a:cubicBezTo>
                      <a:pt x="1840" y="103177"/>
                      <a:pt x="1840" y="103177"/>
                      <a:pt x="1840" y="103177"/>
                    </a:cubicBezTo>
                    <a:cubicBezTo>
                      <a:pt x="1840" y="111028"/>
                      <a:pt x="1840" y="111028"/>
                      <a:pt x="1840" y="111028"/>
                    </a:cubicBezTo>
                    <a:cubicBezTo>
                      <a:pt x="736" y="116635"/>
                      <a:pt x="736" y="116635"/>
                      <a:pt x="736" y="116635"/>
                    </a:cubicBezTo>
                    <a:cubicBezTo>
                      <a:pt x="0" y="120000"/>
                      <a:pt x="0" y="120000"/>
                      <a:pt x="0" y="120000"/>
                    </a:cubicBezTo>
                    <a:cubicBezTo>
                      <a:pt x="0" y="120000"/>
                      <a:pt x="0" y="120000"/>
                      <a:pt x="0" y="120000"/>
                    </a:cubicBezTo>
                    <a:cubicBezTo>
                      <a:pt x="85398" y="99813"/>
                      <a:pt x="85398" y="99813"/>
                      <a:pt x="85398" y="99813"/>
                    </a:cubicBezTo>
                    <a:cubicBezTo>
                      <a:pt x="85398" y="99813"/>
                      <a:pt x="85398" y="99813"/>
                      <a:pt x="85398" y="99813"/>
                    </a:cubicBezTo>
                    <a:cubicBezTo>
                      <a:pt x="85398" y="98691"/>
                      <a:pt x="85398" y="98691"/>
                      <a:pt x="85398" y="98691"/>
                    </a:cubicBezTo>
                    <a:cubicBezTo>
                      <a:pt x="85766" y="91962"/>
                      <a:pt x="85766" y="91962"/>
                      <a:pt x="85766" y="91962"/>
                    </a:cubicBezTo>
                    <a:cubicBezTo>
                      <a:pt x="85766" y="88598"/>
                      <a:pt x="85766" y="88598"/>
                      <a:pt x="85766" y="88598"/>
                    </a:cubicBezTo>
                    <a:cubicBezTo>
                      <a:pt x="87239" y="84112"/>
                      <a:pt x="87239" y="84112"/>
                      <a:pt x="87239" y="84112"/>
                    </a:cubicBezTo>
                    <a:cubicBezTo>
                      <a:pt x="88343" y="84112"/>
                      <a:pt x="88343" y="84112"/>
                      <a:pt x="88343" y="84112"/>
                    </a:cubicBezTo>
                    <a:cubicBezTo>
                      <a:pt x="89815" y="80747"/>
                      <a:pt x="89815" y="80747"/>
                      <a:pt x="89815" y="80747"/>
                    </a:cubicBezTo>
                    <a:cubicBezTo>
                      <a:pt x="89447" y="76261"/>
                      <a:pt x="89447" y="76261"/>
                      <a:pt x="89447" y="76261"/>
                    </a:cubicBezTo>
                    <a:cubicBezTo>
                      <a:pt x="90552" y="71775"/>
                      <a:pt x="90552" y="71775"/>
                      <a:pt x="90552" y="71775"/>
                    </a:cubicBezTo>
                    <a:cubicBezTo>
                      <a:pt x="103067" y="49345"/>
                      <a:pt x="103067" y="49345"/>
                      <a:pt x="103067" y="49345"/>
                    </a:cubicBezTo>
                    <a:cubicBezTo>
                      <a:pt x="104907" y="45981"/>
                      <a:pt x="104907" y="45981"/>
                      <a:pt x="104907" y="45981"/>
                    </a:cubicBezTo>
                    <a:cubicBezTo>
                      <a:pt x="105644" y="41495"/>
                      <a:pt x="105644" y="41495"/>
                      <a:pt x="105644" y="41495"/>
                    </a:cubicBezTo>
                    <a:cubicBezTo>
                      <a:pt x="107116" y="34766"/>
                      <a:pt x="107116" y="34766"/>
                      <a:pt x="107116" y="34766"/>
                    </a:cubicBezTo>
                    <a:cubicBezTo>
                      <a:pt x="108220" y="34766"/>
                      <a:pt x="108220" y="34766"/>
                      <a:pt x="108220" y="34766"/>
                    </a:cubicBezTo>
                    <a:cubicBezTo>
                      <a:pt x="109325" y="39252"/>
                      <a:pt x="109325" y="39252"/>
                      <a:pt x="109325" y="39252"/>
                    </a:cubicBezTo>
                    <a:cubicBezTo>
                      <a:pt x="110797" y="34766"/>
                      <a:pt x="110797" y="34766"/>
                      <a:pt x="110797" y="34766"/>
                    </a:cubicBezTo>
                    <a:cubicBezTo>
                      <a:pt x="112638" y="28037"/>
                      <a:pt x="112638" y="28037"/>
                      <a:pt x="112638" y="28037"/>
                    </a:cubicBezTo>
                    <a:cubicBezTo>
                      <a:pt x="116687" y="25794"/>
                      <a:pt x="116687" y="25794"/>
                      <a:pt x="116687" y="25794"/>
                    </a:cubicBezTo>
                    <a:cubicBezTo>
                      <a:pt x="117055" y="21308"/>
                      <a:pt x="117055" y="21308"/>
                      <a:pt x="117055" y="21308"/>
                    </a:cubicBezTo>
                    <a:cubicBezTo>
                      <a:pt x="118159" y="15700"/>
                      <a:pt x="118159" y="15700"/>
                      <a:pt x="118159" y="15700"/>
                    </a:cubicBezTo>
                    <a:cubicBezTo>
                      <a:pt x="119631" y="13457"/>
                      <a:pt x="119631" y="13457"/>
                      <a:pt x="119631" y="13457"/>
                    </a:cubicBezTo>
                    <a:cubicBezTo>
                      <a:pt x="120000" y="13457"/>
                      <a:pt x="120000" y="13457"/>
                      <a:pt x="120000" y="13457"/>
                    </a:cubicBezTo>
                    <a:cubicBezTo>
                      <a:pt x="120000" y="0"/>
                      <a:pt x="120000" y="0"/>
                      <a:pt x="120000" y="0"/>
                    </a:cubicBezTo>
                    <a:lnTo>
                      <a:pt x="71042" y="1570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82" name="Shape 1417">
                <a:extLst>
                  <a:ext uri="{FF2B5EF4-FFF2-40B4-BE49-F238E27FC236}">
                    <a16:creationId xmlns:a16="http://schemas.microsoft.com/office/drawing/2014/main" id="{3CF48F82-2A71-4BFF-8F01-72561578E3B5}"/>
                  </a:ext>
                </a:extLst>
              </p:cNvPr>
              <p:cNvSpPr/>
              <p:nvPr/>
            </p:nvSpPr>
            <p:spPr>
              <a:xfrm>
                <a:off x="9762691" y="3588664"/>
                <a:ext cx="1127201" cy="498384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19263" y="28333"/>
                    </a:moveTo>
                    <a:cubicBezTo>
                      <a:pt x="118527" y="25833"/>
                      <a:pt x="118527" y="25833"/>
                      <a:pt x="118527" y="25833"/>
                    </a:cubicBezTo>
                    <a:cubicBezTo>
                      <a:pt x="117791" y="23333"/>
                      <a:pt x="117791" y="23333"/>
                      <a:pt x="117791" y="23333"/>
                    </a:cubicBezTo>
                    <a:cubicBezTo>
                      <a:pt x="116687" y="23333"/>
                      <a:pt x="116687" y="23333"/>
                      <a:pt x="116687" y="23333"/>
                    </a:cubicBezTo>
                    <a:cubicBezTo>
                      <a:pt x="116319" y="24166"/>
                      <a:pt x="116319" y="24166"/>
                      <a:pt x="116319" y="24166"/>
                    </a:cubicBezTo>
                    <a:cubicBezTo>
                      <a:pt x="115950" y="31666"/>
                      <a:pt x="115950" y="31666"/>
                      <a:pt x="115950" y="31666"/>
                    </a:cubicBezTo>
                    <a:cubicBezTo>
                      <a:pt x="115950" y="33333"/>
                      <a:pt x="115950" y="33333"/>
                      <a:pt x="115950" y="33333"/>
                    </a:cubicBezTo>
                    <a:cubicBezTo>
                      <a:pt x="114846" y="31666"/>
                      <a:pt x="114846" y="31666"/>
                      <a:pt x="114846" y="31666"/>
                    </a:cubicBezTo>
                    <a:cubicBezTo>
                      <a:pt x="114478" y="26666"/>
                      <a:pt x="114478" y="26666"/>
                      <a:pt x="114478" y="26666"/>
                    </a:cubicBezTo>
                    <a:cubicBezTo>
                      <a:pt x="113742" y="23333"/>
                      <a:pt x="113742" y="23333"/>
                      <a:pt x="113742" y="23333"/>
                    </a:cubicBezTo>
                    <a:cubicBezTo>
                      <a:pt x="112638" y="22500"/>
                      <a:pt x="112638" y="22500"/>
                      <a:pt x="112638" y="22500"/>
                    </a:cubicBezTo>
                    <a:cubicBezTo>
                      <a:pt x="110429" y="25000"/>
                      <a:pt x="110429" y="25000"/>
                      <a:pt x="110429" y="25000"/>
                    </a:cubicBezTo>
                    <a:cubicBezTo>
                      <a:pt x="109693" y="25000"/>
                      <a:pt x="109693" y="25000"/>
                      <a:pt x="109693" y="25000"/>
                    </a:cubicBezTo>
                    <a:cubicBezTo>
                      <a:pt x="107484" y="26666"/>
                      <a:pt x="107484" y="26666"/>
                      <a:pt x="107484" y="26666"/>
                    </a:cubicBezTo>
                    <a:cubicBezTo>
                      <a:pt x="106380" y="29166"/>
                      <a:pt x="106380" y="29166"/>
                      <a:pt x="106380" y="29166"/>
                    </a:cubicBezTo>
                    <a:cubicBezTo>
                      <a:pt x="105276" y="32500"/>
                      <a:pt x="105276" y="32500"/>
                      <a:pt x="105276" y="32500"/>
                    </a:cubicBezTo>
                    <a:cubicBezTo>
                      <a:pt x="104907" y="30833"/>
                      <a:pt x="104907" y="30833"/>
                      <a:pt x="104907" y="30833"/>
                    </a:cubicBezTo>
                    <a:cubicBezTo>
                      <a:pt x="104907" y="26666"/>
                      <a:pt x="104907" y="26666"/>
                      <a:pt x="104907" y="26666"/>
                    </a:cubicBezTo>
                    <a:cubicBezTo>
                      <a:pt x="104907" y="25000"/>
                      <a:pt x="104907" y="25000"/>
                      <a:pt x="104907" y="25000"/>
                    </a:cubicBezTo>
                    <a:cubicBezTo>
                      <a:pt x="104171" y="22500"/>
                      <a:pt x="104171" y="22500"/>
                      <a:pt x="104171" y="22500"/>
                    </a:cubicBezTo>
                    <a:cubicBezTo>
                      <a:pt x="103803" y="20833"/>
                      <a:pt x="103803" y="20833"/>
                      <a:pt x="103803" y="20833"/>
                    </a:cubicBezTo>
                    <a:cubicBezTo>
                      <a:pt x="103435" y="19166"/>
                      <a:pt x="103435" y="19166"/>
                      <a:pt x="103435" y="19166"/>
                    </a:cubicBezTo>
                    <a:cubicBezTo>
                      <a:pt x="103435" y="16666"/>
                      <a:pt x="103435" y="16666"/>
                      <a:pt x="103435" y="16666"/>
                    </a:cubicBezTo>
                    <a:cubicBezTo>
                      <a:pt x="103435" y="15000"/>
                      <a:pt x="103435" y="15000"/>
                      <a:pt x="103435" y="15000"/>
                    </a:cubicBezTo>
                    <a:cubicBezTo>
                      <a:pt x="104171" y="13333"/>
                      <a:pt x="104171" y="13333"/>
                      <a:pt x="104171" y="13333"/>
                    </a:cubicBezTo>
                    <a:cubicBezTo>
                      <a:pt x="104171" y="13333"/>
                      <a:pt x="104171" y="13333"/>
                      <a:pt x="104171" y="13333"/>
                    </a:cubicBezTo>
                    <a:cubicBezTo>
                      <a:pt x="104539" y="16666"/>
                      <a:pt x="104539" y="16666"/>
                      <a:pt x="104539" y="16666"/>
                    </a:cubicBezTo>
                    <a:cubicBezTo>
                      <a:pt x="104907" y="21666"/>
                      <a:pt x="104907" y="21666"/>
                      <a:pt x="104907" y="21666"/>
                    </a:cubicBezTo>
                    <a:cubicBezTo>
                      <a:pt x="105644" y="25833"/>
                      <a:pt x="105644" y="25833"/>
                      <a:pt x="105644" y="25833"/>
                    </a:cubicBezTo>
                    <a:cubicBezTo>
                      <a:pt x="106748" y="24166"/>
                      <a:pt x="106748" y="24166"/>
                      <a:pt x="106748" y="24166"/>
                    </a:cubicBezTo>
                    <a:cubicBezTo>
                      <a:pt x="107116" y="23333"/>
                      <a:pt x="107116" y="23333"/>
                      <a:pt x="107116" y="23333"/>
                    </a:cubicBezTo>
                    <a:cubicBezTo>
                      <a:pt x="108220" y="21666"/>
                      <a:pt x="108220" y="21666"/>
                      <a:pt x="108220" y="21666"/>
                    </a:cubicBezTo>
                    <a:cubicBezTo>
                      <a:pt x="108588" y="21666"/>
                      <a:pt x="108588" y="21666"/>
                      <a:pt x="108588" y="21666"/>
                    </a:cubicBezTo>
                    <a:cubicBezTo>
                      <a:pt x="110061" y="20000"/>
                      <a:pt x="110061" y="20000"/>
                      <a:pt x="110061" y="20000"/>
                    </a:cubicBezTo>
                    <a:cubicBezTo>
                      <a:pt x="110429" y="18333"/>
                      <a:pt x="110429" y="18333"/>
                      <a:pt x="110429" y="18333"/>
                    </a:cubicBezTo>
                    <a:cubicBezTo>
                      <a:pt x="112269" y="18333"/>
                      <a:pt x="112269" y="18333"/>
                      <a:pt x="112269" y="18333"/>
                    </a:cubicBezTo>
                    <a:cubicBezTo>
                      <a:pt x="112638" y="15833"/>
                      <a:pt x="112638" y="15833"/>
                      <a:pt x="112638" y="15833"/>
                    </a:cubicBezTo>
                    <a:cubicBezTo>
                      <a:pt x="113006" y="15000"/>
                      <a:pt x="113006" y="15000"/>
                      <a:pt x="113006" y="15000"/>
                    </a:cubicBezTo>
                    <a:cubicBezTo>
                      <a:pt x="113006" y="15000"/>
                      <a:pt x="112638" y="14166"/>
                      <a:pt x="112638" y="13333"/>
                    </a:cubicBezTo>
                    <a:cubicBezTo>
                      <a:pt x="112269" y="13333"/>
                      <a:pt x="112269" y="13333"/>
                      <a:pt x="112269" y="13333"/>
                    </a:cubicBezTo>
                    <a:cubicBezTo>
                      <a:pt x="111533" y="10833"/>
                      <a:pt x="111533" y="10833"/>
                      <a:pt x="111533" y="10833"/>
                    </a:cubicBezTo>
                    <a:cubicBezTo>
                      <a:pt x="111533" y="10000"/>
                      <a:pt x="111533" y="10000"/>
                      <a:pt x="111533" y="10000"/>
                    </a:cubicBezTo>
                    <a:cubicBezTo>
                      <a:pt x="111901" y="10000"/>
                      <a:pt x="111901" y="10000"/>
                      <a:pt x="111901" y="10000"/>
                    </a:cubicBezTo>
                    <a:cubicBezTo>
                      <a:pt x="113742" y="11666"/>
                      <a:pt x="113742" y="11666"/>
                      <a:pt x="113742" y="11666"/>
                    </a:cubicBezTo>
                    <a:cubicBezTo>
                      <a:pt x="114846" y="11666"/>
                      <a:pt x="114846" y="11666"/>
                      <a:pt x="114846" y="11666"/>
                    </a:cubicBezTo>
                    <a:cubicBezTo>
                      <a:pt x="114846" y="9166"/>
                      <a:pt x="114846" y="9166"/>
                      <a:pt x="114846" y="9166"/>
                    </a:cubicBezTo>
                    <a:cubicBezTo>
                      <a:pt x="113742" y="5833"/>
                      <a:pt x="113742" y="5833"/>
                      <a:pt x="113742" y="5833"/>
                    </a:cubicBezTo>
                    <a:cubicBezTo>
                      <a:pt x="113374" y="3333"/>
                      <a:pt x="113374" y="3333"/>
                      <a:pt x="113374" y="3333"/>
                    </a:cubicBezTo>
                    <a:cubicBezTo>
                      <a:pt x="112269" y="0"/>
                      <a:pt x="112269" y="0"/>
                      <a:pt x="112269" y="0"/>
                    </a:cubicBezTo>
                    <a:cubicBezTo>
                      <a:pt x="80245" y="15000"/>
                      <a:pt x="80245" y="15000"/>
                      <a:pt x="80245" y="15000"/>
                    </a:cubicBezTo>
                    <a:cubicBezTo>
                      <a:pt x="57055" y="23333"/>
                      <a:pt x="57055" y="23333"/>
                      <a:pt x="57055" y="23333"/>
                    </a:cubicBezTo>
                    <a:cubicBezTo>
                      <a:pt x="34601" y="29166"/>
                      <a:pt x="34601" y="29166"/>
                      <a:pt x="34601" y="29166"/>
                    </a:cubicBezTo>
                    <a:cubicBezTo>
                      <a:pt x="34601" y="39166"/>
                      <a:pt x="34601" y="39166"/>
                      <a:pt x="34601" y="39166"/>
                    </a:cubicBezTo>
                    <a:cubicBezTo>
                      <a:pt x="34233" y="39166"/>
                      <a:pt x="34233" y="39166"/>
                      <a:pt x="34233" y="39166"/>
                    </a:cubicBezTo>
                    <a:cubicBezTo>
                      <a:pt x="32760" y="40833"/>
                      <a:pt x="32760" y="40833"/>
                      <a:pt x="32760" y="40833"/>
                    </a:cubicBezTo>
                    <a:cubicBezTo>
                      <a:pt x="31656" y="45000"/>
                      <a:pt x="31656" y="45000"/>
                      <a:pt x="31656" y="45000"/>
                    </a:cubicBezTo>
                    <a:cubicBezTo>
                      <a:pt x="31288" y="48333"/>
                      <a:pt x="31288" y="48333"/>
                      <a:pt x="31288" y="48333"/>
                    </a:cubicBezTo>
                    <a:cubicBezTo>
                      <a:pt x="27239" y="50000"/>
                      <a:pt x="27239" y="50000"/>
                      <a:pt x="27239" y="50000"/>
                    </a:cubicBezTo>
                    <a:cubicBezTo>
                      <a:pt x="25398" y="55000"/>
                      <a:pt x="25398" y="55000"/>
                      <a:pt x="25398" y="55000"/>
                    </a:cubicBezTo>
                    <a:cubicBezTo>
                      <a:pt x="23926" y="58333"/>
                      <a:pt x="23926" y="58333"/>
                      <a:pt x="23926" y="58333"/>
                    </a:cubicBezTo>
                    <a:cubicBezTo>
                      <a:pt x="22822" y="55000"/>
                      <a:pt x="22822" y="55000"/>
                      <a:pt x="22822" y="55000"/>
                    </a:cubicBezTo>
                    <a:cubicBezTo>
                      <a:pt x="21717" y="55000"/>
                      <a:pt x="21717" y="55000"/>
                      <a:pt x="21717" y="55000"/>
                    </a:cubicBezTo>
                    <a:cubicBezTo>
                      <a:pt x="20245" y="60000"/>
                      <a:pt x="20245" y="60000"/>
                      <a:pt x="20245" y="60000"/>
                    </a:cubicBezTo>
                    <a:cubicBezTo>
                      <a:pt x="19509" y="63333"/>
                      <a:pt x="19509" y="63333"/>
                      <a:pt x="19509" y="63333"/>
                    </a:cubicBezTo>
                    <a:cubicBezTo>
                      <a:pt x="17668" y="65833"/>
                      <a:pt x="17668" y="65833"/>
                      <a:pt x="17668" y="65833"/>
                    </a:cubicBezTo>
                    <a:cubicBezTo>
                      <a:pt x="5153" y="82500"/>
                      <a:pt x="5153" y="82500"/>
                      <a:pt x="5153" y="82500"/>
                    </a:cubicBezTo>
                    <a:cubicBezTo>
                      <a:pt x="4049" y="85833"/>
                      <a:pt x="4049" y="85833"/>
                      <a:pt x="4049" y="85833"/>
                    </a:cubicBezTo>
                    <a:cubicBezTo>
                      <a:pt x="4417" y="89166"/>
                      <a:pt x="4417" y="89166"/>
                      <a:pt x="4417" y="89166"/>
                    </a:cubicBezTo>
                    <a:cubicBezTo>
                      <a:pt x="2944" y="91666"/>
                      <a:pt x="2944" y="91666"/>
                      <a:pt x="2944" y="91666"/>
                    </a:cubicBezTo>
                    <a:cubicBezTo>
                      <a:pt x="1840" y="91666"/>
                      <a:pt x="1840" y="91666"/>
                      <a:pt x="1840" y="91666"/>
                    </a:cubicBezTo>
                    <a:cubicBezTo>
                      <a:pt x="368" y="95000"/>
                      <a:pt x="368" y="95000"/>
                      <a:pt x="368" y="95000"/>
                    </a:cubicBezTo>
                    <a:cubicBezTo>
                      <a:pt x="368" y="97500"/>
                      <a:pt x="368" y="97500"/>
                      <a:pt x="368" y="97500"/>
                    </a:cubicBezTo>
                    <a:cubicBezTo>
                      <a:pt x="0" y="102500"/>
                      <a:pt x="0" y="102500"/>
                      <a:pt x="0" y="102500"/>
                    </a:cubicBezTo>
                    <a:cubicBezTo>
                      <a:pt x="0" y="103333"/>
                      <a:pt x="0" y="103333"/>
                      <a:pt x="0" y="103333"/>
                    </a:cubicBezTo>
                    <a:cubicBezTo>
                      <a:pt x="0" y="103333"/>
                      <a:pt x="0" y="103333"/>
                      <a:pt x="0" y="103333"/>
                    </a:cubicBezTo>
                    <a:cubicBezTo>
                      <a:pt x="20613" y="98333"/>
                      <a:pt x="20613" y="98333"/>
                      <a:pt x="20613" y="98333"/>
                    </a:cubicBezTo>
                    <a:cubicBezTo>
                      <a:pt x="26871" y="87500"/>
                      <a:pt x="26871" y="87500"/>
                      <a:pt x="26871" y="87500"/>
                    </a:cubicBezTo>
                    <a:cubicBezTo>
                      <a:pt x="30552" y="86666"/>
                      <a:pt x="30552" y="86666"/>
                      <a:pt x="30552" y="86666"/>
                    </a:cubicBezTo>
                    <a:cubicBezTo>
                      <a:pt x="33128" y="86666"/>
                      <a:pt x="33128" y="86666"/>
                      <a:pt x="33128" y="86666"/>
                    </a:cubicBezTo>
                    <a:cubicBezTo>
                      <a:pt x="37546" y="88333"/>
                      <a:pt x="37546" y="88333"/>
                      <a:pt x="37546" y="88333"/>
                    </a:cubicBezTo>
                    <a:cubicBezTo>
                      <a:pt x="39754" y="87500"/>
                      <a:pt x="39754" y="87500"/>
                      <a:pt x="39754" y="87500"/>
                    </a:cubicBezTo>
                    <a:cubicBezTo>
                      <a:pt x="40858" y="86666"/>
                      <a:pt x="40858" y="86666"/>
                      <a:pt x="40858" y="86666"/>
                    </a:cubicBezTo>
                    <a:cubicBezTo>
                      <a:pt x="42699" y="84166"/>
                      <a:pt x="42699" y="84166"/>
                      <a:pt x="42699" y="84166"/>
                    </a:cubicBezTo>
                    <a:cubicBezTo>
                      <a:pt x="45276" y="83333"/>
                      <a:pt x="45276" y="83333"/>
                      <a:pt x="45276" y="83333"/>
                    </a:cubicBezTo>
                    <a:cubicBezTo>
                      <a:pt x="48588" y="84166"/>
                      <a:pt x="48588" y="84166"/>
                      <a:pt x="48588" y="84166"/>
                    </a:cubicBezTo>
                    <a:cubicBezTo>
                      <a:pt x="50797" y="86666"/>
                      <a:pt x="50797" y="86666"/>
                      <a:pt x="50797" y="86666"/>
                    </a:cubicBezTo>
                    <a:cubicBezTo>
                      <a:pt x="52269" y="95000"/>
                      <a:pt x="52269" y="95000"/>
                      <a:pt x="52269" y="95000"/>
                    </a:cubicBezTo>
                    <a:cubicBezTo>
                      <a:pt x="66993" y="88333"/>
                      <a:pt x="66993" y="88333"/>
                      <a:pt x="66993" y="88333"/>
                    </a:cubicBezTo>
                    <a:cubicBezTo>
                      <a:pt x="86134" y="120000"/>
                      <a:pt x="86134" y="120000"/>
                      <a:pt x="86134" y="120000"/>
                    </a:cubicBezTo>
                    <a:cubicBezTo>
                      <a:pt x="89447" y="116666"/>
                      <a:pt x="89447" y="116666"/>
                      <a:pt x="89447" y="116666"/>
                    </a:cubicBezTo>
                    <a:cubicBezTo>
                      <a:pt x="90184" y="116666"/>
                      <a:pt x="90184" y="116666"/>
                      <a:pt x="90184" y="116666"/>
                    </a:cubicBezTo>
                    <a:cubicBezTo>
                      <a:pt x="93496" y="115833"/>
                      <a:pt x="93496" y="115833"/>
                      <a:pt x="93496" y="115833"/>
                    </a:cubicBezTo>
                    <a:cubicBezTo>
                      <a:pt x="94233" y="113333"/>
                      <a:pt x="94233" y="113333"/>
                      <a:pt x="94233" y="113333"/>
                    </a:cubicBezTo>
                    <a:cubicBezTo>
                      <a:pt x="95337" y="110833"/>
                      <a:pt x="95337" y="110833"/>
                      <a:pt x="95337" y="110833"/>
                    </a:cubicBezTo>
                    <a:cubicBezTo>
                      <a:pt x="95705" y="103333"/>
                      <a:pt x="95705" y="103333"/>
                      <a:pt x="95705" y="103333"/>
                    </a:cubicBezTo>
                    <a:cubicBezTo>
                      <a:pt x="96809" y="97500"/>
                      <a:pt x="96809" y="97500"/>
                      <a:pt x="96809" y="97500"/>
                    </a:cubicBezTo>
                    <a:cubicBezTo>
                      <a:pt x="98282" y="92500"/>
                      <a:pt x="98282" y="92500"/>
                      <a:pt x="98282" y="92500"/>
                    </a:cubicBezTo>
                    <a:cubicBezTo>
                      <a:pt x="99754" y="90000"/>
                      <a:pt x="99754" y="90000"/>
                      <a:pt x="99754" y="90000"/>
                    </a:cubicBezTo>
                    <a:cubicBezTo>
                      <a:pt x="99754" y="88333"/>
                      <a:pt x="99754" y="88333"/>
                      <a:pt x="99754" y="88333"/>
                    </a:cubicBezTo>
                    <a:cubicBezTo>
                      <a:pt x="99386" y="85833"/>
                      <a:pt x="99386" y="85833"/>
                      <a:pt x="99386" y="85833"/>
                    </a:cubicBezTo>
                    <a:cubicBezTo>
                      <a:pt x="99018" y="84166"/>
                      <a:pt x="99018" y="84166"/>
                      <a:pt x="99018" y="84166"/>
                    </a:cubicBezTo>
                    <a:cubicBezTo>
                      <a:pt x="99386" y="83333"/>
                      <a:pt x="99386" y="83333"/>
                      <a:pt x="99386" y="83333"/>
                    </a:cubicBezTo>
                    <a:cubicBezTo>
                      <a:pt x="99386" y="81666"/>
                      <a:pt x="99386" y="81666"/>
                      <a:pt x="99386" y="81666"/>
                    </a:cubicBezTo>
                    <a:cubicBezTo>
                      <a:pt x="99754" y="80833"/>
                      <a:pt x="99754" y="80833"/>
                      <a:pt x="99754" y="80833"/>
                    </a:cubicBezTo>
                    <a:cubicBezTo>
                      <a:pt x="100122" y="80833"/>
                      <a:pt x="100122" y="80833"/>
                      <a:pt x="100122" y="80833"/>
                    </a:cubicBezTo>
                    <a:cubicBezTo>
                      <a:pt x="100490" y="81666"/>
                      <a:pt x="100490" y="81666"/>
                      <a:pt x="100490" y="81666"/>
                    </a:cubicBezTo>
                    <a:cubicBezTo>
                      <a:pt x="100858" y="85000"/>
                      <a:pt x="100858" y="85000"/>
                      <a:pt x="100858" y="85000"/>
                    </a:cubicBezTo>
                    <a:cubicBezTo>
                      <a:pt x="102331" y="83333"/>
                      <a:pt x="102331" y="83333"/>
                      <a:pt x="102331" y="83333"/>
                    </a:cubicBezTo>
                    <a:cubicBezTo>
                      <a:pt x="103435" y="82500"/>
                      <a:pt x="103435" y="82500"/>
                      <a:pt x="103435" y="82500"/>
                    </a:cubicBezTo>
                    <a:cubicBezTo>
                      <a:pt x="103435" y="80833"/>
                      <a:pt x="103435" y="80833"/>
                      <a:pt x="103435" y="80833"/>
                    </a:cubicBezTo>
                    <a:cubicBezTo>
                      <a:pt x="103435" y="79166"/>
                      <a:pt x="103435" y="79166"/>
                      <a:pt x="103435" y="79166"/>
                    </a:cubicBezTo>
                    <a:cubicBezTo>
                      <a:pt x="104171" y="78333"/>
                      <a:pt x="104171" y="78333"/>
                      <a:pt x="104171" y="78333"/>
                    </a:cubicBezTo>
                    <a:cubicBezTo>
                      <a:pt x="104171" y="77500"/>
                      <a:pt x="104171" y="77500"/>
                      <a:pt x="104171" y="77500"/>
                    </a:cubicBezTo>
                    <a:cubicBezTo>
                      <a:pt x="104907" y="79166"/>
                      <a:pt x="104907" y="79166"/>
                      <a:pt x="104907" y="79166"/>
                    </a:cubicBezTo>
                    <a:cubicBezTo>
                      <a:pt x="106748" y="77500"/>
                      <a:pt x="106748" y="77500"/>
                      <a:pt x="106748" y="77500"/>
                    </a:cubicBezTo>
                    <a:cubicBezTo>
                      <a:pt x="108220" y="75833"/>
                      <a:pt x="108220" y="75833"/>
                      <a:pt x="108220" y="75833"/>
                    </a:cubicBezTo>
                    <a:cubicBezTo>
                      <a:pt x="108957" y="75833"/>
                      <a:pt x="108957" y="75833"/>
                      <a:pt x="108957" y="75833"/>
                    </a:cubicBezTo>
                    <a:cubicBezTo>
                      <a:pt x="110061" y="74166"/>
                      <a:pt x="110061" y="74166"/>
                      <a:pt x="110061" y="74166"/>
                    </a:cubicBezTo>
                    <a:cubicBezTo>
                      <a:pt x="110797" y="73333"/>
                      <a:pt x="110797" y="73333"/>
                      <a:pt x="110797" y="73333"/>
                    </a:cubicBezTo>
                    <a:cubicBezTo>
                      <a:pt x="110797" y="72500"/>
                      <a:pt x="110797" y="72500"/>
                      <a:pt x="110797" y="72500"/>
                    </a:cubicBezTo>
                    <a:cubicBezTo>
                      <a:pt x="112269" y="75000"/>
                      <a:pt x="112269" y="75000"/>
                      <a:pt x="112269" y="75000"/>
                    </a:cubicBezTo>
                    <a:cubicBezTo>
                      <a:pt x="113006" y="71666"/>
                      <a:pt x="113006" y="71666"/>
                      <a:pt x="113006" y="71666"/>
                    </a:cubicBezTo>
                    <a:cubicBezTo>
                      <a:pt x="113374" y="67500"/>
                      <a:pt x="113374" y="67500"/>
                      <a:pt x="113374" y="67500"/>
                    </a:cubicBezTo>
                    <a:cubicBezTo>
                      <a:pt x="113742" y="65833"/>
                      <a:pt x="113742" y="65833"/>
                      <a:pt x="113742" y="65833"/>
                    </a:cubicBezTo>
                    <a:cubicBezTo>
                      <a:pt x="114110" y="64166"/>
                      <a:pt x="114110" y="64166"/>
                      <a:pt x="114110" y="64166"/>
                    </a:cubicBezTo>
                    <a:cubicBezTo>
                      <a:pt x="114110" y="64166"/>
                      <a:pt x="113742" y="61666"/>
                      <a:pt x="113374" y="62500"/>
                    </a:cubicBezTo>
                    <a:cubicBezTo>
                      <a:pt x="113006" y="62500"/>
                      <a:pt x="111901" y="63333"/>
                      <a:pt x="111901" y="63333"/>
                    </a:cubicBezTo>
                    <a:cubicBezTo>
                      <a:pt x="111533" y="65000"/>
                      <a:pt x="111533" y="65000"/>
                      <a:pt x="111533" y="65000"/>
                    </a:cubicBezTo>
                    <a:cubicBezTo>
                      <a:pt x="110797" y="65000"/>
                      <a:pt x="110797" y="65000"/>
                      <a:pt x="110797" y="65000"/>
                    </a:cubicBezTo>
                    <a:cubicBezTo>
                      <a:pt x="110061" y="66666"/>
                      <a:pt x="110061" y="66666"/>
                      <a:pt x="110061" y="66666"/>
                    </a:cubicBezTo>
                    <a:cubicBezTo>
                      <a:pt x="108220" y="69166"/>
                      <a:pt x="108220" y="69166"/>
                      <a:pt x="108220" y="69166"/>
                    </a:cubicBezTo>
                    <a:cubicBezTo>
                      <a:pt x="107116" y="69166"/>
                      <a:pt x="107116" y="69166"/>
                      <a:pt x="107116" y="69166"/>
                    </a:cubicBezTo>
                    <a:cubicBezTo>
                      <a:pt x="104171" y="67500"/>
                      <a:pt x="104171" y="67500"/>
                      <a:pt x="104171" y="67500"/>
                    </a:cubicBezTo>
                    <a:cubicBezTo>
                      <a:pt x="104171" y="65833"/>
                      <a:pt x="104171" y="65833"/>
                      <a:pt x="104171" y="65833"/>
                    </a:cubicBezTo>
                    <a:cubicBezTo>
                      <a:pt x="104171" y="64166"/>
                      <a:pt x="104171" y="64166"/>
                      <a:pt x="104171" y="64166"/>
                    </a:cubicBezTo>
                    <a:cubicBezTo>
                      <a:pt x="104539" y="63333"/>
                      <a:pt x="104539" y="63333"/>
                      <a:pt x="104539" y="63333"/>
                    </a:cubicBezTo>
                    <a:cubicBezTo>
                      <a:pt x="105276" y="63333"/>
                      <a:pt x="105276" y="63333"/>
                      <a:pt x="105276" y="63333"/>
                    </a:cubicBezTo>
                    <a:cubicBezTo>
                      <a:pt x="106012" y="64166"/>
                      <a:pt x="106012" y="64166"/>
                      <a:pt x="106012" y="64166"/>
                    </a:cubicBezTo>
                    <a:cubicBezTo>
                      <a:pt x="107852" y="64166"/>
                      <a:pt x="107852" y="64166"/>
                      <a:pt x="107852" y="64166"/>
                    </a:cubicBezTo>
                    <a:cubicBezTo>
                      <a:pt x="108957" y="62500"/>
                      <a:pt x="108957" y="62500"/>
                      <a:pt x="108957" y="62500"/>
                    </a:cubicBezTo>
                    <a:cubicBezTo>
                      <a:pt x="108957" y="60833"/>
                      <a:pt x="108957" y="60833"/>
                      <a:pt x="108957" y="60833"/>
                    </a:cubicBezTo>
                    <a:cubicBezTo>
                      <a:pt x="108588" y="59166"/>
                      <a:pt x="108588" y="59166"/>
                      <a:pt x="108588" y="59166"/>
                    </a:cubicBezTo>
                    <a:cubicBezTo>
                      <a:pt x="108957" y="56666"/>
                      <a:pt x="108957" y="56666"/>
                      <a:pt x="108957" y="56666"/>
                    </a:cubicBezTo>
                    <a:cubicBezTo>
                      <a:pt x="109325" y="56666"/>
                      <a:pt x="109325" y="56666"/>
                      <a:pt x="109325" y="56666"/>
                    </a:cubicBezTo>
                    <a:cubicBezTo>
                      <a:pt x="110061" y="55000"/>
                      <a:pt x="110061" y="55000"/>
                      <a:pt x="110061" y="55000"/>
                    </a:cubicBezTo>
                    <a:cubicBezTo>
                      <a:pt x="110061" y="53333"/>
                      <a:pt x="110061" y="53333"/>
                      <a:pt x="110061" y="53333"/>
                    </a:cubicBezTo>
                    <a:cubicBezTo>
                      <a:pt x="108957" y="53333"/>
                      <a:pt x="108957" y="53333"/>
                      <a:pt x="108957" y="53333"/>
                    </a:cubicBezTo>
                    <a:cubicBezTo>
                      <a:pt x="106748" y="50833"/>
                      <a:pt x="106748" y="50833"/>
                      <a:pt x="106748" y="50833"/>
                    </a:cubicBezTo>
                    <a:cubicBezTo>
                      <a:pt x="104171" y="50000"/>
                      <a:pt x="104171" y="50000"/>
                      <a:pt x="104171" y="50000"/>
                    </a:cubicBezTo>
                    <a:cubicBezTo>
                      <a:pt x="103067" y="48333"/>
                      <a:pt x="103067" y="48333"/>
                      <a:pt x="103067" y="48333"/>
                    </a:cubicBezTo>
                    <a:cubicBezTo>
                      <a:pt x="103067" y="47500"/>
                      <a:pt x="103067" y="47500"/>
                      <a:pt x="103067" y="47500"/>
                    </a:cubicBezTo>
                    <a:cubicBezTo>
                      <a:pt x="104539" y="47500"/>
                      <a:pt x="104539" y="47500"/>
                      <a:pt x="104539" y="47500"/>
                    </a:cubicBezTo>
                    <a:cubicBezTo>
                      <a:pt x="106748" y="47500"/>
                      <a:pt x="106748" y="47500"/>
                      <a:pt x="106748" y="47500"/>
                    </a:cubicBezTo>
                    <a:cubicBezTo>
                      <a:pt x="108220" y="49166"/>
                      <a:pt x="108220" y="49166"/>
                      <a:pt x="108220" y="49166"/>
                    </a:cubicBezTo>
                    <a:cubicBezTo>
                      <a:pt x="108588" y="47500"/>
                      <a:pt x="108588" y="47500"/>
                      <a:pt x="108588" y="47500"/>
                    </a:cubicBezTo>
                    <a:cubicBezTo>
                      <a:pt x="108220" y="45833"/>
                      <a:pt x="108220" y="45833"/>
                      <a:pt x="108220" y="45833"/>
                    </a:cubicBezTo>
                    <a:cubicBezTo>
                      <a:pt x="107852" y="45000"/>
                      <a:pt x="107852" y="45000"/>
                      <a:pt x="107852" y="45000"/>
                    </a:cubicBezTo>
                    <a:cubicBezTo>
                      <a:pt x="107484" y="43333"/>
                      <a:pt x="107484" y="43333"/>
                      <a:pt x="107484" y="43333"/>
                    </a:cubicBezTo>
                    <a:cubicBezTo>
                      <a:pt x="108220" y="42500"/>
                      <a:pt x="108220" y="42500"/>
                      <a:pt x="108220" y="42500"/>
                    </a:cubicBezTo>
                    <a:cubicBezTo>
                      <a:pt x="109325" y="42500"/>
                      <a:pt x="109325" y="42500"/>
                      <a:pt x="109325" y="42500"/>
                    </a:cubicBezTo>
                    <a:cubicBezTo>
                      <a:pt x="109693" y="46666"/>
                      <a:pt x="109693" y="46666"/>
                      <a:pt x="109693" y="46666"/>
                    </a:cubicBezTo>
                    <a:cubicBezTo>
                      <a:pt x="110429" y="48333"/>
                      <a:pt x="110429" y="48333"/>
                      <a:pt x="110429" y="48333"/>
                    </a:cubicBezTo>
                    <a:cubicBezTo>
                      <a:pt x="111533" y="48333"/>
                      <a:pt x="111533" y="48333"/>
                      <a:pt x="111533" y="48333"/>
                    </a:cubicBezTo>
                    <a:cubicBezTo>
                      <a:pt x="111901" y="47500"/>
                      <a:pt x="111901" y="47500"/>
                      <a:pt x="111901" y="47500"/>
                    </a:cubicBezTo>
                    <a:cubicBezTo>
                      <a:pt x="112638" y="48333"/>
                      <a:pt x="112638" y="48333"/>
                      <a:pt x="112638" y="48333"/>
                    </a:cubicBezTo>
                    <a:cubicBezTo>
                      <a:pt x="114110" y="48333"/>
                      <a:pt x="114110" y="48333"/>
                      <a:pt x="114110" y="48333"/>
                    </a:cubicBezTo>
                    <a:cubicBezTo>
                      <a:pt x="116319" y="48333"/>
                      <a:pt x="116319" y="48333"/>
                      <a:pt x="116319" y="48333"/>
                    </a:cubicBezTo>
                    <a:cubicBezTo>
                      <a:pt x="116687" y="47500"/>
                      <a:pt x="116687" y="47500"/>
                      <a:pt x="116687" y="47500"/>
                    </a:cubicBezTo>
                    <a:cubicBezTo>
                      <a:pt x="116687" y="44166"/>
                      <a:pt x="116687" y="44166"/>
                      <a:pt x="116687" y="44166"/>
                    </a:cubicBezTo>
                    <a:cubicBezTo>
                      <a:pt x="117055" y="42500"/>
                      <a:pt x="117055" y="42500"/>
                      <a:pt x="117055" y="42500"/>
                    </a:cubicBezTo>
                    <a:cubicBezTo>
                      <a:pt x="117423" y="40000"/>
                      <a:pt x="117423" y="40000"/>
                      <a:pt x="117423" y="40000"/>
                    </a:cubicBezTo>
                    <a:cubicBezTo>
                      <a:pt x="117423" y="38333"/>
                      <a:pt x="117423" y="38333"/>
                      <a:pt x="117423" y="38333"/>
                    </a:cubicBezTo>
                    <a:cubicBezTo>
                      <a:pt x="117791" y="35000"/>
                      <a:pt x="117791" y="35000"/>
                      <a:pt x="117791" y="35000"/>
                    </a:cubicBezTo>
                    <a:cubicBezTo>
                      <a:pt x="118527" y="35000"/>
                      <a:pt x="118527" y="35000"/>
                      <a:pt x="118527" y="35000"/>
                    </a:cubicBezTo>
                    <a:cubicBezTo>
                      <a:pt x="118895" y="36666"/>
                      <a:pt x="118895" y="36666"/>
                      <a:pt x="118895" y="36666"/>
                    </a:cubicBezTo>
                    <a:cubicBezTo>
                      <a:pt x="119631" y="35000"/>
                      <a:pt x="119631" y="35000"/>
                      <a:pt x="119631" y="35000"/>
                    </a:cubicBezTo>
                    <a:cubicBezTo>
                      <a:pt x="119631" y="32500"/>
                      <a:pt x="119631" y="32500"/>
                      <a:pt x="119631" y="32500"/>
                    </a:cubicBezTo>
                    <a:cubicBezTo>
                      <a:pt x="120000" y="30833"/>
                      <a:pt x="120000" y="30833"/>
                      <a:pt x="120000" y="30833"/>
                    </a:cubicBezTo>
                    <a:lnTo>
                      <a:pt x="119263" y="28333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83" name="Shape 1418">
                <a:extLst>
                  <a:ext uri="{FF2B5EF4-FFF2-40B4-BE49-F238E27FC236}">
                    <a16:creationId xmlns:a16="http://schemas.microsoft.com/office/drawing/2014/main" id="{05182D45-048E-4E34-A90A-30A57DC4DBD7}"/>
                  </a:ext>
                </a:extLst>
              </p:cNvPr>
              <p:cNvSpPr/>
              <p:nvPr/>
            </p:nvSpPr>
            <p:spPr>
              <a:xfrm>
                <a:off x="9599327" y="3997179"/>
                <a:ext cx="694289" cy="747579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18208" y="71111"/>
                    </a:moveTo>
                    <a:cubicBezTo>
                      <a:pt x="117014" y="70555"/>
                      <a:pt x="117014" y="70555"/>
                      <a:pt x="117014" y="70555"/>
                    </a:cubicBezTo>
                    <a:cubicBezTo>
                      <a:pt x="116417" y="68888"/>
                      <a:pt x="116417" y="68888"/>
                      <a:pt x="116417" y="68888"/>
                    </a:cubicBezTo>
                    <a:cubicBezTo>
                      <a:pt x="116417" y="66666"/>
                      <a:pt x="116417" y="66666"/>
                      <a:pt x="116417" y="66666"/>
                    </a:cubicBezTo>
                    <a:cubicBezTo>
                      <a:pt x="116417" y="66111"/>
                      <a:pt x="116417" y="66111"/>
                      <a:pt x="116417" y="66111"/>
                    </a:cubicBezTo>
                    <a:cubicBezTo>
                      <a:pt x="114029" y="63888"/>
                      <a:pt x="114029" y="63888"/>
                      <a:pt x="114029" y="63888"/>
                    </a:cubicBezTo>
                    <a:cubicBezTo>
                      <a:pt x="113432" y="62222"/>
                      <a:pt x="113432" y="62222"/>
                      <a:pt x="113432" y="62222"/>
                    </a:cubicBezTo>
                    <a:cubicBezTo>
                      <a:pt x="113432" y="61111"/>
                      <a:pt x="113432" y="61111"/>
                      <a:pt x="113432" y="61111"/>
                    </a:cubicBezTo>
                    <a:cubicBezTo>
                      <a:pt x="113432" y="60555"/>
                      <a:pt x="113432" y="60555"/>
                      <a:pt x="113432" y="60555"/>
                    </a:cubicBezTo>
                    <a:cubicBezTo>
                      <a:pt x="111641" y="59444"/>
                      <a:pt x="111641" y="59444"/>
                      <a:pt x="111641" y="59444"/>
                    </a:cubicBezTo>
                    <a:cubicBezTo>
                      <a:pt x="109850" y="58888"/>
                      <a:pt x="109850" y="58888"/>
                      <a:pt x="109850" y="58888"/>
                    </a:cubicBezTo>
                    <a:cubicBezTo>
                      <a:pt x="109253" y="58888"/>
                      <a:pt x="109253" y="58888"/>
                      <a:pt x="109253" y="58888"/>
                    </a:cubicBezTo>
                    <a:cubicBezTo>
                      <a:pt x="108656" y="57777"/>
                      <a:pt x="108656" y="57777"/>
                      <a:pt x="108656" y="57777"/>
                    </a:cubicBezTo>
                    <a:cubicBezTo>
                      <a:pt x="108059" y="56111"/>
                      <a:pt x="108059" y="56111"/>
                      <a:pt x="108059" y="56111"/>
                    </a:cubicBezTo>
                    <a:cubicBezTo>
                      <a:pt x="108059" y="55000"/>
                      <a:pt x="108059" y="55000"/>
                      <a:pt x="108059" y="55000"/>
                    </a:cubicBezTo>
                    <a:cubicBezTo>
                      <a:pt x="106865" y="53333"/>
                      <a:pt x="106865" y="53333"/>
                      <a:pt x="106865" y="53333"/>
                    </a:cubicBezTo>
                    <a:cubicBezTo>
                      <a:pt x="105074" y="50555"/>
                      <a:pt x="105074" y="50555"/>
                      <a:pt x="105074" y="50555"/>
                    </a:cubicBezTo>
                    <a:cubicBezTo>
                      <a:pt x="103880" y="49444"/>
                      <a:pt x="103880" y="49444"/>
                      <a:pt x="103880" y="49444"/>
                    </a:cubicBezTo>
                    <a:cubicBezTo>
                      <a:pt x="102089" y="48333"/>
                      <a:pt x="102089" y="48333"/>
                      <a:pt x="102089" y="48333"/>
                    </a:cubicBezTo>
                    <a:cubicBezTo>
                      <a:pt x="100298" y="46666"/>
                      <a:pt x="100298" y="46666"/>
                      <a:pt x="100298" y="46666"/>
                    </a:cubicBezTo>
                    <a:cubicBezTo>
                      <a:pt x="98507" y="45000"/>
                      <a:pt x="98507" y="45000"/>
                      <a:pt x="98507" y="45000"/>
                    </a:cubicBezTo>
                    <a:cubicBezTo>
                      <a:pt x="94328" y="43333"/>
                      <a:pt x="94328" y="43333"/>
                      <a:pt x="94328" y="43333"/>
                    </a:cubicBezTo>
                    <a:cubicBezTo>
                      <a:pt x="91343" y="39444"/>
                      <a:pt x="91343" y="39444"/>
                      <a:pt x="91343" y="39444"/>
                    </a:cubicBezTo>
                    <a:cubicBezTo>
                      <a:pt x="87761" y="35000"/>
                      <a:pt x="87761" y="35000"/>
                      <a:pt x="87761" y="35000"/>
                    </a:cubicBezTo>
                    <a:cubicBezTo>
                      <a:pt x="84776" y="32777"/>
                      <a:pt x="84776" y="32777"/>
                      <a:pt x="84776" y="32777"/>
                    </a:cubicBezTo>
                    <a:cubicBezTo>
                      <a:pt x="75223" y="25555"/>
                      <a:pt x="75223" y="25555"/>
                      <a:pt x="75223" y="25555"/>
                    </a:cubicBezTo>
                    <a:cubicBezTo>
                      <a:pt x="72238" y="22222"/>
                      <a:pt x="72238" y="22222"/>
                      <a:pt x="72238" y="22222"/>
                    </a:cubicBezTo>
                    <a:cubicBezTo>
                      <a:pt x="69253" y="19444"/>
                      <a:pt x="69253" y="19444"/>
                      <a:pt x="69253" y="19444"/>
                    </a:cubicBezTo>
                    <a:cubicBezTo>
                      <a:pt x="68059" y="17222"/>
                      <a:pt x="68059" y="17222"/>
                      <a:pt x="68059" y="17222"/>
                    </a:cubicBezTo>
                    <a:cubicBezTo>
                      <a:pt x="66268" y="15000"/>
                      <a:pt x="66268" y="15000"/>
                      <a:pt x="66268" y="15000"/>
                    </a:cubicBezTo>
                    <a:cubicBezTo>
                      <a:pt x="64477" y="13333"/>
                      <a:pt x="64477" y="13333"/>
                      <a:pt x="64477" y="13333"/>
                    </a:cubicBezTo>
                    <a:cubicBezTo>
                      <a:pt x="57313" y="10555"/>
                      <a:pt x="57313" y="10555"/>
                      <a:pt x="57313" y="10555"/>
                    </a:cubicBezTo>
                    <a:cubicBezTo>
                      <a:pt x="56119" y="8888"/>
                      <a:pt x="56119" y="8888"/>
                      <a:pt x="56119" y="8888"/>
                    </a:cubicBezTo>
                    <a:cubicBezTo>
                      <a:pt x="54925" y="7777"/>
                      <a:pt x="54925" y="7777"/>
                      <a:pt x="54925" y="7777"/>
                    </a:cubicBezTo>
                    <a:cubicBezTo>
                      <a:pt x="54925" y="6111"/>
                      <a:pt x="54925" y="6111"/>
                      <a:pt x="54925" y="6111"/>
                    </a:cubicBezTo>
                    <a:cubicBezTo>
                      <a:pt x="57910" y="4444"/>
                      <a:pt x="57910" y="4444"/>
                      <a:pt x="57910" y="4444"/>
                    </a:cubicBezTo>
                    <a:cubicBezTo>
                      <a:pt x="60298" y="2777"/>
                      <a:pt x="60298" y="2777"/>
                      <a:pt x="60298" y="2777"/>
                    </a:cubicBezTo>
                    <a:cubicBezTo>
                      <a:pt x="61492" y="2222"/>
                      <a:pt x="61492" y="2222"/>
                      <a:pt x="61492" y="2222"/>
                    </a:cubicBezTo>
                    <a:cubicBezTo>
                      <a:pt x="61492" y="1111"/>
                      <a:pt x="61492" y="1111"/>
                      <a:pt x="61492" y="1111"/>
                    </a:cubicBezTo>
                    <a:cubicBezTo>
                      <a:pt x="62089" y="0"/>
                      <a:pt x="62089" y="0"/>
                      <a:pt x="62089" y="0"/>
                    </a:cubicBezTo>
                    <a:cubicBezTo>
                      <a:pt x="62089" y="0"/>
                      <a:pt x="62089" y="0"/>
                      <a:pt x="62089" y="0"/>
                    </a:cubicBezTo>
                    <a:cubicBezTo>
                      <a:pt x="28656" y="3333"/>
                      <a:pt x="28656" y="3333"/>
                      <a:pt x="28656" y="3333"/>
                    </a:cubicBezTo>
                    <a:cubicBezTo>
                      <a:pt x="28656" y="3333"/>
                      <a:pt x="28656" y="3333"/>
                      <a:pt x="28656" y="3333"/>
                    </a:cubicBezTo>
                    <a:cubicBezTo>
                      <a:pt x="0" y="5555"/>
                      <a:pt x="0" y="5555"/>
                      <a:pt x="0" y="5555"/>
                    </a:cubicBezTo>
                    <a:cubicBezTo>
                      <a:pt x="1791" y="13333"/>
                      <a:pt x="1791" y="13333"/>
                      <a:pt x="1791" y="13333"/>
                    </a:cubicBezTo>
                    <a:cubicBezTo>
                      <a:pt x="6567" y="32222"/>
                      <a:pt x="6567" y="32222"/>
                      <a:pt x="6567" y="32222"/>
                    </a:cubicBezTo>
                    <a:cubicBezTo>
                      <a:pt x="13731" y="54444"/>
                      <a:pt x="13731" y="54444"/>
                      <a:pt x="13731" y="54444"/>
                    </a:cubicBezTo>
                    <a:cubicBezTo>
                      <a:pt x="14925" y="59444"/>
                      <a:pt x="14925" y="59444"/>
                      <a:pt x="14925" y="59444"/>
                    </a:cubicBezTo>
                    <a:cubicBezTo>
                      <a:pt x="19701" y="67777"/>
                      <a:pt x="19701" y="67777"/>
                      <a:pt x="19701" y="67777"/>
                    </a:cubicBezTo>
                    <a:cubicBezTo>
                      <a:pt x="22686" y="71111"/>
                      <a:pt x="22686" y="71111"/>
                      <a:pt x="22686" y="71111"/>
                    </a:cubicBezTo>
                    <a:cubicBezTo>
                      <a:pt x="22686" y="73333"/>
                      <a:pt x="22686" y="73333"/>
                      <a:pt x="22686" y="73333"/>
                    </a:cubicBezTo>
                    <a:cubicBezTo>
                      <a:pt x="23283" y="76111"/>
                      <a:pt x="23283" y="76111"/>
                      <a:pt x="23283" y="76111"/>
                    </a:cubicBezTo>
                    <a:cubicBezTo>
                      <a:pt x="25074" y="77222"/>
                      <a:pt x="25074" y="77222"/>
                      <a:pt x="25074" y="77222"/>
                    </a:cubicBezTo>
                    <a:cubicBezTo>
                      <a:pt x="23880" y="80000"/>
                      <a:pt x="23880" y="80000"/>
                      <a:pt x="23880" y="80000"/>
                    </a:cubicBezTo>
                    <a:cubicBezTo>
                      <a:pt x="20895" y="81666"/>
                      <a:pt x="20895" y="81666"/>
                      <a:pt x="20895" y="81666"/>
                    </a:cubicBezTo>
                    <a:cubicBezTo>
                      <a:pt x="23283" y="83333"/>
                      <a:pt x="23283" y="83333"/>
                      <a:pt x="23283" y="83333"/>
                    </a:cubicBezTo>
                    <a:cubicBezTo>
                      <a:pt x="22686" y="86111"/>
                      <a:pt x="22686" y="86111"/>
                      <a:pt x="22686" y="86111"/>
                    </a:cubicBezTo>
                    <a:cubicBezTo>
                      <a:pt x="20895" y="87222"/>
                      <a:pt x="20895" y="87222"/>
                      <a:pt x="20895" y="87222"/>
                    </a:cubicBezTo>
                    <a:cubicBezTo>
                      <a:pt x="20895" y="90555"/>
                      <a:pt x="20895" y="90555"/>
                      <a:pt x="20895" y="90555"/>
                    </a:cubicBezTo>
                    <a:cubicBezTo>
                      <a:pt x="22089" y="95555"/>
                      <a:pt x="22089" y="95555"/>
                      <a:pt x="22089" y="95555"/>
                    </a:cubicBezTo>
                    <a:cubicBezTo>
                      <a:pt x="23283" y="97777"/>
                      <a:pt x="23283" y="97777"/>
                      <a:pt x="23283" y="97777"/>
                    </a:cubicBezTo>
                    <a:cubicBezTo>
                      <a:pt x="23880" y="101111"/>
                      <a:pt x="23880" y="101111"/>
                      <a:pt x="23880" y="101111"/>
                    </a:cubicBezTo>
                    <a:cubicBezTo>
                      <a:pt x="22686" y="102222"/>
                      <a:pt x="22686" y="102222"/>
                      <a:pt x="22686" y="102222"/>
                    </a:cubicBezTo>
                    <a:cubicBezTo>
                      <a:pt x="22089" y="103333"/>
                      <a:pt x="22089" y="103333"/>
                      <a:pt x="22089" y="103333"/>
                    </a:cubicBezTo>
                    <a:cubicBezTo>
                      <a:pt x="23283" y="105555"/>
                      <a:pt x="23283" y="105555"/>
                      <a:pt x="23283" y="105555"/>
                    </a:cubicBezTo>
                    <a:cubicBezTo>
                      <a:pt x="24477" y="107222"/>
                      <a:pt x="24477" y="107222"/>
                      <a:pt x="24477" y="107222"/>
                    </a:cubicBezTo>
                    <a:cubicBezTo>
                      <a:pt x="26865" y="110555"/>
                      <a:pt x="26865" y="110555"/>
                      <a:pt x="26865" y="110555"/>
                    </a:cubicBezTo>
                    <a:cubicBezTo>
                      <a:pt x="27462" y="111666"/>
                      <a:pt x="27462" y="111666"/>
                      <a:pt x="27462" y="111666"/>
                    </a:cubicBezTo>
                    <a:cubicBezTo>
                      <a:pt x="31044" y="118333"/>
                      <a:pt x="31044" y="118333"/>
                      <a:pt x="31044" y="118333"/>
                    </a:cubicBezTo>
                    <a:cubicBezTo>
                      <a:pt x="95522" y="115000"/>
                      <a:pt x="95522" y="115000"/>
                      <a:pt x="95522" y="115000"/>
                    </a:cubicBezTo>
                    <a:cubicBezTo>
                      <a:pt x="96119" y="120000"/>
                      <a:pt x="96119" y="120000"/>
                      <a:pt x="96119" y="120000"/>
                    </a:cubicBezTo>
                    <a:cubicBezTo>
                      <a:pt x="100895" y="120000"/>
                      <a:pt x="100895" y="120000"/>
                      <a:pt x="100895" y="120000"/>
                    </a:cubicBezTo>
                    <a:cubicBezTo>
                      <a:pt x="99104" y="107222"/>
                      <a:pt x="99104" y="107222"/>
                      <a:pt x="99104" y="107222"/>
                    </a:cubicBezTo>
                    <a:cubicBezTo>
                      <a:pt x="99104" y="107222"/>
                      <a:pt x="99104" y="107222"/>
                      <a:pt x="99104" y="107222"/>
                    </a:cubicBezTo>
                    <a:cubicBezTo>
                      <a:pt x="103283" y="107777"/>
                      <a:pt x="103283" y="107777"/>
                      <a:pt x="103283" y="107777"/>
                    </a:cubicBezTo>
                    <a:cubicBezTo>
                      <a:pt x="109253" y="108888"/>
                      <a:pt x="109253" y="108888"/>
                      <a:pt x="109253" y="108888"/>
                    </a:cubicBezTo>
                    <a:cubicBezTo>
                      <a:pt x="109850" y="107222"/>
                      <a:pt x="109850" y="107222"/>
                      <a:pt x="109850" y="107222"/>
                    </a:cubicBezTo>
                    <a:cubicBezTo>
                      <a:pt x="109850" y="107222"/>
                      <a:pt x="110447" y="105000"/>
                      <a:pt x="110447" y="105000"/>
                    </a:cubicBezTo>
                    <a:cubicBezTo>
                      <a:pt x="110447" y="104444"/>
                      <a:pt x="109850" y="104444"/>
                      <a:pt x="109850" y="104444"/>
                    </a:cubicBezTo>
                    <a:cubicBezTo>
                      <a:pt x="109850" y="104444"/>
                      <a:pt x="109253" y="103888"/>
                      <a:pt x="108656" y="103888"/>
                    </a:cubicBezTo>
                    <a:cubicBezTo>
                      <a:pt x="108059" y="103333"/>
                      <a:pt x="108059" y="102777"/>
                      <a:pt x="107462" y="102222"/>
                    </a:cubicBezTo>
                    <a:cubicBezTo>
                      <a:pt x="106865" y="101666"/>
                      <a:pt x="107462" y="101666"/>
                      <a:pt x="107462" y="101666"/>
                    </a:cubicBezTo>
                    <a:cubicBezTo>
                      <a:pt x="108656" y="101666"/>
                      <a:pt x="108656" y="101666"/>
                      <a:pt x="108656" y="101666"/>
                    </a:cubicBezTo>
                    <a:cubicBezTo>
                      <a:pt x="110447" y="101666"/>
                      <a:pt x="110447" y="101666"/>
                      <a:pt x="110447" y="101666"/>
                    </a:cubicBezTo>
                    <a:cubicBezTo>
                      <a:pt x="110447" y="101666"/>
                      <a:pt x="109850" y="100555"/>
                      <a:pt x="109850" y="99444"/>
                    </a:cubicBezTo>
                    <a:cubicBezTo>
                      <a:pt x="109253" y="98333"/>
                      <a:pt x="109253" y="98333"/>
                      <a:pt x="109253" y="98333"/>
                    </a:cubicBezTo>
                    <a:cubicBezTo>
                      <a:pt x="111044" y="97777"/>
                      <a:pt x="111044" y="97777"/>
                      <a:pt x="111044" y="97777"/>
                    </a:cubicBezTo>
                    <a:cubicBezTo>
                      <a:pt x="112238" y="96666"/>
                      <a:pt x="112238" y="96666"/>
                      <a:pt x="112238" y="96666"/>
                    </a:cubicBezTo>
                    <a:cubicBezTo>
                      <a:pt x="113432" y="93888"/>
                      <a:pt x="113432" y="93888"/>
                      <a:pt x="113432" y="93888"/>
                    </a:cubicBezTo>
                    <a:cubicBezTo>
                      <a:pt x="111641" y="93333"/>
                      <a:pt x="111641" y="93333"/>
                      <a:pt x="111641" y="93333"/>
                    </a:cubicBezTo>
                    <a:cubicBezTo>
                      <a:pt x="111641" y="93333"/>
                      <a:pt x="111641" y="92777"/>
                      <a:pt x="111641" y="92777"/>
                    </a:cubicBezTo>
                    <a:cubicBezTo>
                      <a:pt x="111641" y="92222"/>
                      <a:pt x="112238" y="92222"/>
                      <a:pt x="112238" y="91666"/>
                    </a:cubicBezTo>
                    <a:cubicBezTo>
                      <a:pt x="112238" y="91666"/>
                      <a:pt x="112835" y="91111"/>
                      <a:pt x="112835" y="91111"/>
                    </a:cubicBezTo>
                    <a:cubicBezTo>
                      <a:pt x="112835" y="89444"/>
                      <a:pt x="112835" y="89444"/>
                      <a:pt x="112835" y="89444"/>
                    </a:cubicBezTo>
                    <a:cubicBezTo>
                      <a:pt x="112835" y="85555"/>
                      <a:pt x="112835" y="85555"/>
                      <a:pt x="112835" y="85555"/>
                    </a:cubicBezTo>
                    <a:cubicBezTo>
                      <a:pt x="112835" y="83888"/>
                      <a:pt x="112835" y="83888"/>
                      <a:pt x="112835" y="83888"/>
                    </a:cubicBezTo>
                    <a:cubicBezTo>
                      <a:pt x="112835" y="83888"/>
                      <a:pt x="114029" y="83888"/>
                      <a:pt x="114626" y="83888"/>
                    </a:cubicBezTo>
                    <a:cubicBezTo>
                      <a:pt x="114626" y="83888"/>
                      <a:pt x="115820" y="84444"/>
                      <a:pt x="115820" y="84444"/>
                    </a:cubicBezTo>
                    <a:cubicBezTo>
                      <a:pt x="115820" y="84444"/>
                      <a:pt x="116417" y="83888"/>
                      <a:pt x="116417" y="83333"/>
                    </a:cubicBezTo>
                    <a:cubicBezTo>
                      <a:pt x="116417" y="83333"/>
                      <a:pt x="116417" y="83333"/>
                      <a:pt x="115223" y="82777"/>
                    </a:cubicBezTo>
                    <a:cubicBezTo>
                      <a:pt x="114626" y="82222"/>
                      <a:pt x="113432" y="81666"/>
                      <a:pt x="113432" y="81666"/>
                    </a:cubicBezTo>
                    <a:cubicBezTo>
                      <a:pt x="113432" y="81111"/>
                      <a:pt x="112835" y="80000"/>
                      <a:pt x="112835" y="80000"/>
                    </a:cubicBezTo>
                    <a:cubicBezTo>
                      <a:pt x="114029" y="80000"/>
                      <a:pt x="114029" y="80000"/>
                      <a:pt x="114029" y="80000"/>
                    </a:cubicBezTo>
                    <a:cubicBezTo>
                      <a:pt x="117014" y="80000"/>
                      <a:pt x="117014" y="80000"/>
                      <a:pt x="117014" y="80000"/>
                    </a:cubicBezTo>
                    <a:cubicBezTo>
                      <a:pt x="117611" y="78333"/>
                      <a:pt x="117611" y="78333"/>
                      <a:pt x="117611" y="78333"/>
                    </a:cubicBezTo>
                    <a:cubicBezTo>
                      <a:pt x="117611" y="78333"/>
                      <a:pt x="115223" y="78333"/>
                      <a:pt x="115223" y="78333"/>
                    </a:cubicBezTo>
                    <a:cubicBezTo>
                      <a:pt x="115223" y="78333"/>
                      <a:pt x="114029" y="77222"/>
                      <a:pt x="114029" y="77222"/>
                    </a:cubicBezTo>
                    <a:cubicBezTo>
                      <a:pt x="114626" y="76111"/>
                      <a:pt x="114626" y="76111"/>
                      <a:pt x="114626" y="76111"/>
                    </a:cubicBezTo>
                    <a:cubicBezTo>
                      <a:pt x="115223" y="76666"/>
                      <a:pt x="115223" y="76666"/>
                      <a:pt x="115223" y="76666"/>
                    </a:cubicBezTo>
                    <a:cubicBezTo>
                      <a:pt x="117611" y="76666"/>
                      <a:pt x="117611" y="76666"/>
                      <a:pt x="117611" y="76666"/>
                    </a:cubicBezTo>
                    <a:cubicBezTo>
                      <a:pt x="118805" y="76111"/>
                      <a:pt x="118805" y="76111"/>
                      <a:pt x="118805" y="76111"/>
                    </a:cubicBezTo>
                    <a:cubicBezTo>
                      <a:pt x="118805" y="74444"/>
                      <a:pt x="118805" y="74444"/>
                      <a:pt x="118805" y="74444"/>
                    </a:cubicBezTo>
                    <a:cubicBezTo>
                      <a:pt x="118805" y="73333"/>
                      <a:pt x="118805" y="73333"/>
                      <a:pt x="118805" y="73333"/>
                    </a:cubicBezTo>
                    <a:cubicBezTo>
                      <a:pt x="120000" y="72222"/>
                      <a:pt x="120000" y="72222"/>
                      <a:pt x="120000" y="72222"/>
                    </a:cubicBezTo>
                    <a:cubicBezTo>
                      <a:pt x="119402" y="71666"/>
                      <a:pt x="119402" y="71666"/>
                      <a:pt x="119402" y="71666"/>
                    </a:cubicBezTo>
                    <a:lnTo>
                      <a:pt x="118208" y="71111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9F9EA2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84" name="Shape 1419">
                <a:extLst>
                  <a:ext uri="{FF2B5EF4-FFF2-40B4-BE49-F238E27FC236}">
                    <a16:creationId xmlns:a16="http://schemas.microsoft.com/office/drawing/2014/main" id="{FA909B9E-270C-4EB1-9D45-A4744950EA78}"/>
                  </a:ext>
                </a:extLst>
              </p:cNvPr>
              <p:cNvSpPr/>
              <p:nvPr/>
            </p:nvSpPr>
            <p:spPr>
              <a:xfrm>
                <a:off x="9828033" y="3167894"/>
                <a:ext cx="1012851" cy="567832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56129" y="109640"/>
                    </a:moveTo>
                    <a:lnTo>
                      <a:pt x="81774" y="101870"/>
                    </a:lnTo>
                    <a:lnTo>
                      <a:pt x="117580" y="88920"/>
                    </a:lnTo>
                    <a:lnTo>
                      <a:pt x="120000" y="87194"/>
                    </a:lnTo>
                    <a:lnTo>
                      <a:pt x="120000" y="84604"/>
                    </a:lnTo>
                    <a:lnTo>
                      <a:pt x="119032" y="80287"/>
                    </a:lnTo>
                    <a:lnTo>
                      <a:pt x="117580" y="76834"/>
                    </a:lnTo>
                    <a:lnTo>
                      <a:pt x="115645" y="74244"/>
                    </a:lnTo>
                    <a:lnTo>
                      <a:pt x="114677" y="74244"/>
                    </a:lnTo>
                    <a:lnTo>
                      <a:pt x="112258" y="71654"/>
                    </a:lnTo>
                    <a:lnTo>
                      <a:pt x="111774" y="69064"/>
                    </a:lnTo>
                    <a:lnTo>
                      <a:pt x="110322" y="67338"/>
                    </a:lnTo>
                    <a:lnTo>
                      <a:pt x="109354" y="63884"/>
                    </a:lnTo>
                    <a:lnTo>
                      <a:pt x="108387" y="62158"/>
                    </a:lnTo>
                    <a:lnTo>
                      <a:pt x="108387" y="60431"/>
                    </a:lnTo>
                    <a:lnTo>
                      <a:pt x="109354" y="58705"/>
                    </a:lnTo>
                    <a:lnTo>
                      <a:pt x="111290" y="60431"/>
                    </a:lnTo>
                    <a:lnTo>
                      <a:pt x="110322" y="57841"/>
                    </a:lnTo>
                    <a:lnTo>
                      <a:pt x="109354" y="55251"/>
                    </a:lnTo>
                    <a:lnTo>
                      <a:pt x="108387" y="54388"/>
                    </a:lnTo>
                    <a:lnTo>
                      <a:pt x="104032" y="51798"/>
                    </a:lnTo>
                    <a:lnTo>
                      <a:pt x="102096" y="46618"/>
                    </a:lnTo>
                    <a:lnTo>
                      <a:pt x="102096" y="45755"/>
                    </a:lnTo>
                    <a:lnTo>
                      <a:pt x="104032" y="47482"/>
                    </a:lnTo>
                    <a:lnTo>
                      <a:pt x="106451" y="48345"/>
                    </a:lnTo>
                    <a:lnTo>
                      <a:pt x="106935" y="50935"/>
                    </a:lnTo>
                    <a:lnTo>
                      <a:pt x="109838" y="51798"/>
                    </a:lnTo>
                    <a:lnTo>
                      <a:pt x="108870" y="48345"/>
                    </a:lnTo>
                    <a:lnTo>
                      <a:pt x="108870" y="44028"/>
                    </a:lnTo>
                    <a:lnTo>
                      <a:pt x="108870" y="41438"/>
                    </a:lnTo>
                    <a:lnTo>
                      <a:pt x="106935" y="42302"/>
                    </a:lnTo>
                    <a:lnTo>
                      <a:pt x="104032" y="38848"/>
                    </a:lnTo>
                    <a:lnTo>
                      <a:pt x="102580" y="35395"/>
                    </a:lnTo>
                    <a:lnTo>
                      <a:pt x="102096" y="35395"/>
                    </a:lnTo>
                    <a:lnTo>
                      <a:pt x="101612" y="37122"/>
                    </a:lnTo>
                    <a:lnTo>
                      <a:pt x="100161" y="37122"/>
                    </a:lnTo>
                    <a:lnTo>
                      <a:pt x="98225" y="33669"/>
                    </a:lnTo>
                    <a:lnTo>
                      <a:pt x="96290" y="31942"/>
                    </a:lnTo>
                    <a:lnTo>
                      <a:pt x="94354" y="31079"/>
                    </a:lnTo>
                    <a:lnTo>
                      <a:pt x="93387" y="31942"/>
                    </a:lnTo>
                    <a:lnTo>
                      <a:pt x="91935" y="32805"/>
                    </a:lnTo>
                    <a:lnTo>
                      <a:pt x="90967" y="31079"/>
                    </a:lnTo>
                    <a:lnTo>
                      <a:pt x="90967" y="21582"/>
                    </a:lnTo>
                    <a:lnTo>
                      <a:pt x="92419" y="20719"/>
                    </a:lnTo>
                    <a:lnTo>
                      <a:pt x="93387" y="18129"/>
                    </a:lnTo>
                    <a:lnTo>
                      <a:pt x="92903" y="14676"/>
                    </a:lnTo>
                    <a:lnTo>
                      <a:pt x="90967" y="12086"/>
                    </a:lnTo>
                    <a:lnTo>
                      <a:pt x="88548" y="8633"/>
                    </a:lnTo>
                    <a:lnTo>
                      <a:pt x="83709" y="3453"/>
                    </a:lnTo>
                    <a:lnTo>
                      <a:pt x="82741" y="4316"/>
                    </a:lnTo>
                    <a:lnTo>
                      <a:pt x="81290" y="6906"/>
                    </a:lnTo>
                    <a:lnTo>
                      <a:pt x="80322" y="6906"/>
                    </a:lnTo>
                    <a:lnTo>
                      <a:pt x="77419" y="4316"/>
                    </a:lnTo>
                    <a:lnTo>
                      <a:pt x="73064" y="0"/>
                    </a:lnTo>
                    <a:lnTo>
                      <a:pt x="73064" y="6906"/>
                    </a:lnTo>
                    <a:lnTo>
                      <a:pt x="72096" y="12949"/>
                    </a:lnTo>
                    <a:lnTo>
                      <a:pt x="71129" y="15539"/>
                    </a:lnTo>
                    <a:lnTo>
                      <a:pt x="69677" y="18129"/>
                    </a:lnTo>
                    <a:lnTo>
                      <a:pt x="67258" y="25899"/>
                    </a:lnTo>
                    <a:lnTo>
                      <a:pt x="66774" y="24172"/>
                    </a:lnTo>
                    <a:lnTo>
                      <a:pt x="65322" y="24172"/>
                    </a:lnTo>
                    <a:lnTo>
                      <a:pt x="64838" y="24172"/>
                    </a:lnTo>
                    <a:lnTo>
                      <a:pt x="64354" y="27625"/>
                    </a:lnTo>
                    <a:lnTo>
                      <a:pt x="63387" y="31079"/>
                    </a:lnTo>
                    <a:lnTo>
                      <a:pt x="61935" y="37985"/>
                    </a:lnTo>
                    <a:lnTo>
                      <a:pt x="61451" y="39712"/>
                    </a:lnTo>
                    <a:lnTo>
                      <a:pt x="60483" y="38848"/>
                    </a:lnTo>
                    <a:lnTo>
                      <a:pt x="58064" y="37122"/>
                    </a:lnTo>
                    <a:lnTo>
                      <a:pt x="56129" y="35395"/>
                    </a:lnTo>
                    <a:lnTo>
                      <a:pt x="55645" y="41438"/>
                    </a:lnTo>
                    <a:lnTo>
                      <a:pt x="54193" y="51798"/>
                    </a:lnTo>
                    <a:lnTo>
                      <a:pt x="52741" y="58705"/>
                    </a:lnTo>
                    <a:lnTo>
                      <a:pt x="50322" y="63021"/>
                    </a:lnTo>
                    <a:lnTo>
                      <a:pt x="49838" y="67338"/>
                    </a:lnTo>
                    <a:lnTo>
                      <a:pt x="50322" y="74244"/>
                    </a:lnTo>
                    <a:lnTo>
                      <a:pt x="48387" y="76834"/>
                    </a:lnTo>
                    <a:lnTo>
                      <a:pt x="43064" y="82014"/>
                    </a:lnTo>
                    <a:lnTo>
                      <a:pt x="39677" y="87194"/>
                    </a:lnTo>
                    <a:lnTo>
                      <a:pt x="35322" y="88920"/>
                    </a:lnTo>
                    <a:lnTo>
                      <a:pt x="33387" y="86330"/>
                    </a:lnTo>
                    <a:lnTo>
                      <a:pt x="30483" y="92374"/>
                    </a:lnTo>
                    <a:lnTo>
                      <a:pt x="29516" y="92374"/>
                    </a:lnTo>
                    <a:lnTo>
                      <a:pt x="27096" y="90647"/>
                    </a:lnTo>
                    <a:lnTo>
                      <a:pt x="24193" y="86330"/>
                    </a:lnTo>
                    <a:lnTo>
                      <a:pt x="23709" y="83741"/>
                    </a:lnTo>
                    <a:lnTo>
                      <a:pt x="22258" y="83741"/>
                    </a:lnTo>
                    <a:lnTo>
                      <a:pt x="21774" y="85467"/>
                    </a:lnTo>
                    <a:lnTo>
                      <a:pt x="20806" y="88920"/>
                    </a:lnTo>
                    <a:lnTo>
                      <a:pt x="18870" y="94100"/>
                    </a:lnTo>
                    <a:lnTo>
                      <a:pt x="13548" y="97553"/>
                    </a:lnTo>
                    <a:lnTo>
                      <a:pt x="12096" y="101870"/>
                    </a:lnTo>
                    <a:lnTo>
                      <a:pt x="10645" y="109640"/>
                    </a:lnTo>
                    <a:lnTo>
                      <a:pt x="8709" y="110503"/>
                    </a:lnTo>
                    <a:lnTo>
                      <a:pt x="7258" y="112230"/>
                    </a:lnTo>
                    <a:lnTo>
                      <a:pt x="4838" y="114820"/>
                    </a:lnTo>
                    <a:lnTo>
                      <a:pt x="2903" y="117410"/>
                    </a:lnTo>
                    <a:lnTo>
                      <a:pt x="0" y="120000"/>
                    </a:lnTo>
                    <a:lnTo>
                      <a:pt x="30967" y="114820"/>
                    </a:lnTo>
                    <a:lnTo>
                      <a:pt x="56129" y="10964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85" name="Shape 1420">
                <a:extLst>
                  <a:ext uri="{FF2B5EF4-FFF2-40B4-BE49-F238E27FC236}">
                    <a16:creationId xmlns:a16="http://schemas.microsoft.com/office/drawing/2014/main" id="{A6415545-C1DA-4575-BEB7-4A33A6560A3A}"/>
                  </a:ext>
                </a:extLst>
              </p:cNvPr>
              <p:cNvSpPr/>
              <p:nvPr/>
            </p:nvSpPr>
            <p:spPr>
              <a:xfrm>
                <a:off x="9917881" y="3935899"/>
                <a:ext cx="653452" cy="506557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62222" y="11428"/>
                    </a:moveTo>
                    <a:cubicBezTo>
                      <a:pt x="59682" y="3265"/>
                      <a:pt x="59682" y="3265"/>
                      <a:pt x="59682" y="3265"/>
                    </a:cubicBezTo>
                    <a:cubicBezTo>
                      <a:pt x="55873" y="816"/>
                      <a:pt x="55873" y="816"/>
                      <a:pt x="55873" y="816"/>
                    </a:cubicBezTo>
                    <a:cubicBezTo>
                      <a:pt x="50158" y="0"/>
                      <a:pt x="50158" y="0"/>
                      <a:pt x="50158" y="0"/>
                    </a:cubicBezTo>
                    <a:cubicBezTo>
                      <a:pt x="45714" y="816"/>
                      <a:pt x="45714" y="816"/>
                      <a:pt x="45714" y="816"/>
                    </a:cubicBezTo>
                    <a:cubicBezTo>
                      <a:pt x="42539" y="3265"/>
                      <a:pt x="42539" y="3265"/>
                      <a:pt x="42539" y="3265"/>
                    </a:cubicBezTo>
                    <a:cubicBezTo>
                      <a:pt x="40634" y="4081"/>
                      <a:pt x="40634" y="4081"/>
                      <a:pt x="40634" y="4081"/>
                    </a:cubicBezTo>
                    <a:cubicBezTo>
                      <a:pt x="36825" y="4897"/>
                      <a:pt x="36825" y="4897"/>
                      <a:pt x="36825" y="4897"/>
                    </a:cubicBezTo>
                    <a:cubicBezTo>
                      <a:pt x="29206" y="3265"/>
                      <a:pt x="29206" y="3265"/>
                      <a:pt x="29206" y="3265"/>
                    </a:cubicBezTo>
                    <a:cubicBezTo>
                      <a:pt x="24761" y="3265"/>
                      <a:pt x="24761" y="3265"/>
                      <a:pt x="24761" y="3265"/>
                    </a:cubicBezTo>
                    <a:cubicBezTo>
                      <a:pt x="19682" y="4081"/>
                      <a:pt x="19682" y="4081"/>
                      <a:pt x="19682" y="4081"/>
                    </a:cubicBezTo>
                    <a:cubicBezTo>
                      <a:pt x="16507" y="5714"/>
                      <a:pt x="16507" y="5714"/>
                      <a:pt x="16507" y="5714"/>
                    </a:cubicBezTo>
                    <a:cubicBezTo>
                      <a:pt x="7619" y="14693"/>
                      <a:pt x="7619" y="14693"/>
                      <a:pt x="7619" y="14693"/>
                    </a:cubicBezTo>
                    <a:cubicBezTo>
                      <a:pt x="7619" y="14693"/>
                      <a:pt x="7619" y="14693"/>
                      <a:pt x="7619" y="14693"/>
                    </a:cubicBezTo>
                    <a:cubicBezTo>
                      <a:pt x="6984" y="16326"/>
                      <a:pt x="6984" y="16326"/>
                      <a:pt x="6984" y="16326"/>
                    </a:cubicBezTo>
                    <a:cubicBezTo>
                      <a:pt x="6984" y="17959"/>
                      <a:pt x="6984" y="17959"/>
                      <a:pt x="6984" y="17959"/>
                    </a:cubicBezTo>
                    <a:cubicBezTo>
                      <a:pt x="5714" y="18775"/>
                      <a:pt x="5714" y="18775"/>
                      <a:pt x="5714" y="18775"/>
                    </a:cubicBezTo>
                    <a:cubicBezTo>
                      <a:pt x="3174" y="21224"/>
                      <a:pt x="3174" y="21224"/>
                      <a:pt x="3174" y="21224"/>
                    </a:cubicBezTo>
                    <a:cubicBezTo>
                      <a:pt x="0" y="23673"/>
                      <a:pt x="0" y="23673"/>
                      <a:pt x="0" y="23673"/>
                    </a:cubicBezTo>
                    <a:cubicBezTo>
                      <a:pt x="0" y="26122"/>
                      <a:pt x="0" y="26122"/>
                      <a:pt x="0" y="26122"/>
                    </a:cubicBezTo>
                    <a:cubicBezTo>
                      <a:pt x="1269" y="27755"/>
                      <a:pt x="1269" y="27755"/>
                      <a:pt x="1269" y="27755"/>
                    </a:cubicBezTo>
                    <a:cubicBezTo>
                      <a:pt x="2539" y="30204"/>
                      <a:pt x="2539" y="30204"/>
                      <a:pt x="2539" y="30204"/>
                    </a:cubicBezTo>
                    <a:cubicBezTo>
                      <a:pt x="10158" y="34285"/>
                      <a:pt x="10158" y="34285"/>
                      <a:pt x="10158" y="34285"/>
                    </a:cubicBezTo>
                    <a:cubicBezTo>
                      <a:pt x="12063" y="36734"/>
                      <a:pt x="12063" y="36734"/>
                      <a:pt x="12063" y="36734"/>
                    </a:cubicBezTo>
                    <a:cubicBezTo>
                      <a:pt x="13968" y="40000"/>
                      <a:pt x="13968" y="40000"/>
                      <a:pt x="13968" y="40000"/>
                    </a:cubicBezTo>
                    <a:cubicBezTo>
                      <a:pt x="15238" y="43265"/>
                      <a:pt x="15238" y="43265"/>
                      <a:pt x="15238" y="43265"/>
                    </a:cubicBezTo>
                    <a:cubicBezTo>
                      <a:pt x="18412" y="47346"/>
                      <a:pt x="18412" y="47346"/>
                      <a:pt x="18412" y="47346"/>
                    </a:cubicBezTo>
                    <a:cubicBezTo>
                      <a:pt x="21587" y="52244"/>
                      <a:pt x="21587" y="52244"/>
                      <a:pt x="21587" y="52244"/>
                    </a:cubicBezTo>
                    <a:cubicBezTo>
                      <a:pt x="31746" y="62857"/>
                      <a:pt x="31746" y="62857"/>
                      <a:pt x="31746" y="62857"/>
                    </a:cubicBezTo>
                    <a:cubicBezTo>
                      <a:pt x="34920" y="66122"/>
                      <a:pt x="34920" y="66122"/>
                      <a:pt x="34920" y="66122"/>
                    </a:cubicBezTo>
                    <a:cubicBezTo>
                      <a:pt x="38730" y="72653"/>
                      <a:pt x="38730" y="72653"/>
                      <a:pt x="38730" y="72653"/>
                    </a:cubicBezTo>
                    <a:cubicBezTo>
                      <a:pt x="41904" y="78367"/>
                      <a:pt x="41904" y="78367"/>
                      <a:pt x="41904" y="78367"/>
                    </a:cubicBezTo>
                    <a:cubicBezTo>
                      <a:pt x="46349" y="80816"/>
                      <a:pt x="46349" y="80816"/>
                      <a:pt x="46349" y="80816"/>
                    </a:cubicBezTo>
                    <a:cubicBezTo>
                      <a:pt x="48253" y="83265"/>
                      <a:pt x="48253" y="83265"/>
                      <a:pt x="48253" y="83265"/>
                    </a:cubicBezTo>
                    <a:cubicBezTo>
                      <a:pt x="50158" y="85714"/>
                      <a:pt x="50158" y="85714"/>
                      <a:pt x="50158" y="85714"/>
                    </a:cubicBezTo>
                    <a:cubicBezTo>
                      <a:pt x="52063" y="87346"/>
                      <a:pt x="52063" y="87346"/>
                      <a:pt x="52063" y="87346"/>
                    </a:cubicBezTo>
                    <a:cubicBezTo>
                      <a:pt x="53333" y="88979"/>
                      <a:pt x="53333" y="88979"/>
                      <a:pt x="53333" y="88979"/>
                    </a:cubicBezTo>
                    <a:cubicBezTo>
                      <a:pt x="55238" y="93061"/>
                      <a:pt x="55238" y="93061"/>
                      <a:pt x="55238" y="93061"/>
                    </a:cubicBezTo>
                    <a:cubicBezTo>
                      <a:pt x="56507" y="95510"/>
                      <a:pt x="56507" y="95510"/>
                      <a:pt x="56507" y="95510"/>
                    </a:cubicBezTo>
                    <a:cubicBezTo>
                      <a:pt x="56507" y="97142"/>
                      <a:pt x="56507" y="97142"/>
                      <a:pt x="56507" y="97142"/>
                    </a:cubicBezTo>
                    <a:cubicBezTo>
                      <a:pt x="57142" y="99591"/>
                      <a:pt x="57142" y="99591"/>
                      <a:pt x="57142" y="99591"/>
                    </a:cubicBezTo>
                    <a:cubicBezTo>
                      <a:pt x="57777" y="101224"/>
                      <a:pt x="57777" y="101224"/>
                      <a:pt x="57777" y="101224"/>
                    </a:cubicBezTo>
                    <a:cubicBezTo>
                      <a:pt x="58412" y="101224"/>
                      <a:pt x="58412" y="101224"/>
                      <a:pt x="58412" y="101224"/>
                    </a:cubicBezTo>
                    <a:cubicBezTo>
                      <a:pt x="60317" y="102040"/>
                      <a:pt x="60317" y="102040"/>
                      <a:pt x="60317" y="102040"/>
                    </a:cubicBezTo>
                    <a:cubicBezTo>
                      <a:pt x="62222" y="103673"/>
                      <a:pt x="62222" y="103673"/>
                      <a:pt x="62222" y="103673"/>
                    </a:cubicBezTo>
                    <a:cubicBezTo>
                      <a:pt x="62222" y="104489"/>
                      <a:pt x="62222" y="104489"/>
                      <a:pt x="62222" y="104489"/>
                    </a:cubicBezTo>
                    <a:cubicBezTo>
                      <a:pt x="62222" y="106122"/>
                      <a:pt x="62222" y="106122"/>
                      <a:pt x="62222" y="106122"/>
                    </a:cubicBezTo>
                    <a:cubicBezTo>
                      <a:pt x="62857" y="108571"/>
                      <a:pt x="62857" y="108571"/>
                      <a:pt x="62857" y="108571"/>
                    </a:cubicBezTo>
                    <a:cubicBezTo>
                      <a:pt x="65396" y="111836"/>
                      <a:pt x="65396" y="111836"/>
                      <a:pt x="65396" y="111836"/>
                    </a:cubicBezTo>
                    <a:cubicBezTo>
                      <a:pt x="65396" y="112653"/>
                      <a:pt x="65396" y="112653"/>
                      <a:pt x="65396" y="112653"/>
                    </a:cubicBezTo>
                    <a:cubicBezTo>
                      <a:pt x="65396" y="115918"/>
                      <a:pt x="65396" y="115918"/>
                      <a:pt x="65396" y="115918"/>
                    </a:cubicBezTo>
                    <a:cubicBezTo>
                      <a:pt x="66031" y="118367"/>
                      <a:pt x="66031" y="118367"/>
                      <a:pt x="66031" y="118367"/>
                    </a:cubicBezTo>
                    <a:cubicBezTo>
                      <a:pt x="67301" y="119183"/>
                      <a:pt x="67301" y="119183"/>
                      <a:pt x="67301" y="119183"/>
                    </a:cubicBezTo>
                    <a:cubicBezTo>
                      <a:pt x="68571" y="120000"/>
                      <a:pt x="68571" y="120000"/>
                      <a:pt x="68571" y="120000"/>
                    </a:cubicBezTo>
                    <a:cubicBezTo>
                      <a:pt x="68571" y="115102"/>
                      <a:pt x="68571" y="115102"/>
                      <a:pt x="68571" y="115102"/>
                    </a:cubicBezTo>
                    <a:cubicBezTo>
                      <a:pt x="69841" y="114285"/>
                      <a:pt x="69841" y="114285"/>
                      <a:pt x="69841" y="114285"/>
                    </a:cubicBezTo>
                    <a:cubicBezTo>
                      <a:pt x="73015" y="114285"/>
                      <a:pt x="73015" y="114285"/>
                      <a:pt x="73015" y="114285"/>
                    </a:cubicBezTo>
                    <a:cubicBezTo>
                      <a:pt x="73650" y="114285"/>
                      <a:pt x="73650" y="114285"/>
                      <a:pt x="73650" y="114285"/>
                    </a:cubicBezTo>
                    <a:cubicBezTo>
                      <a:pt x="73650" y="114285"/>
                      <a:pt x="74920" y="113469"/>
                      <a:pt x="74920" y="113469"/>
                    </a:cubicBezTo>
                    <a:cubicBezTo>
                      <a:pt x="74920" y="112653"/>
                      <a:pt x="74285" y="111836"/>
                      <a:pt x="74285" y="111836"/>
                    </a:cubicBezTo>
                    <a:cubicBezTo>
                      <a:pt x="73650" y="111836"/>
                      <a:pt x="73650" y="111836"/>
                      <a:pt x="73650" y="111836"/>
                    </a:cubicBezTo>
                    <a:cubicBezTo>
                      <a:pt x="73650" y="111836"/>
                      <a:pt x="71111" y="111020"/>
                      <a:pt x="71111" y="111020"/>
                    </a:cubicBezTo>
                    <a:cubicBezTo>
                      <a:pt x="70476" y="111020"/>
                      <a:pt x="69841" y="109387"/>
                      <a:pt x="69841" y="109387"/>
                    </a:cubicBezTo>
                    <a:cubicBezTo>
                      <a:pt x="69841" y="108571"/>
                      <a:pt x="69841" y="108571"/>
                      <a:pt x="69841" y="108571"/>
                    </a:cubicBezTo>
                    <a:cubicBezTo>
                      <a:pt x="70476" y="105306"/>
                      <a:pt x="70476" y="105306"/>
                      <a:pt x="70476" y="105306"/>
                    </a:cubicBezTo>
                    <a:cubicBezTo>
                      <a:pt x="73015" y="107755"/>
                      <a:pt x="73015" y="107755"/>
                      <a:pt x="73015" y="107755"/>
                    </a:cubicBezTo>
                    <a:cubicBezTo>
                      <a:pt x="73650" y="108571"/>
                      <a:pt x="73650" y="108571"/>
                      <a:pt x="73650" y="108571"/>
                    </a:cubicBezTo>
                    <a:cubicBezTo>
                      <a:pt x="75555" y="110204"/>
                      <a:pt x="75555" y="110204"/>
                      <a:pt x="75555" y="110204"/>
                    </a:cubicBezTo>
                    <a:cubicBezTo>
                      <a:pt x="78095" y="109387"/>
                      <a:pt x="78095" y="109387"/>
                      <a:pt x="78095" y="109387"/>
                    </a:cubicBezTo>
                    <a:cubicBezTo>
                      <a:pt x="78730" y="104489"/>
                      <a:pt x="78730" y="104489"/>
                      <a:pt x="78730" y="104489"/>
                    </a:cubicBezTo>
                    <a:cubicBezTo>
                      <a:pt x="78730" y="103673"/>
                      <a:pt x="78730" y="103673"/>
                      <a:pt x="78730" y="103673"/>
                    </a:cubicBezTo>
                    <a:cubicBezTo>
                      <a:pt x="78095" y="100408"/>
                      <a:pt x="78095" y="100408"/>
                      <a:pt x="78095" y="100408"/>
                    </a:cubicBezTo>
                    <a:cubicBezTo>
                      <a:pt x="80000" y="100408"/>
                      <a:pt x="80000" y="100408"/>
                      <a:pt x="80000" y="100408"/>
                    </a:cubicBezTo>
                    <a:cubicBezTo>
                      <a:pt x="82539" y="100408"/>
                      <a:pt x="82539" y="100408"/>
                      <a:pt x="82539" y="100408"/>
                    </a:cubicBezTo>
                    <a:cubicBezTo>
                      <a:pt x="85714" y="97959"/>
                      <a:pt x="85714" y="97959"/>
                      <a:pt x="85714" y="97959"/>
                    </a:cubicBezTo>
                    <a:cubicBezTo>
                      <a:pt x="85714" y="97142"/>
                      <a:pt x="85714" y="97142"/>
                      <a:pt x="85714" y="97142"/>
                    </a:cubicBezTo>
                    <a:cubicBezTo>
                      <a:pt x="84444" y="96326"/>
                      <a:pt x="84444" y="96326"/>
                      <a:pt x="84444" y="96326"/>
                    </a:cubicBezTo>
                    <a:cubicBezTo>
                      <a:pt x="83174" y="96326"/>
                      <a:pt x="83174" y="96326"/>
                      <a:pt x="83174" y="96326"/>
                    </a:cubicBezTo>
                    <a:cubicBezTo>
                      <a:pt x="81904" y="95510"/>
                      <a:pt x="81904" y="95510"/>
                      <a:pt x="81904" y="95510"/>
                    </a:cubicBezTo>
                    <a:cubicBezTo>
                      <a:pt x="81904" y="93877"/>
                      <a:pt x="81904" y="93877"/>
                      <a:pt x="81904" y="93877"/>
                    </a:cubicBezTo>
                    <a:cubicBezTo>
                      <a:pt x="83809" y="93061"/>
                      <a:pt x="83809" y="93061"/>
                      <a:pt x="83809" y="93061"/>
                    </a:cubicBezTo>
                    <a:cubicBezTo>
                      <a:pt x="84444" y="93877"/>
                      <a:pt x="84444" y="93877"/>
                      <a:pt x="84444" y="93877"/>
                    </a:cubicBezTo>
                    <a:cubicBezTo>
                      <a:pt x="86349" y="95510"/>
                      <a:pt x="86349" y="95510"/>
                      <a:pt x="86349" y="95510"/>
                    </a:cubicBezTo>
                    <a:cubicBezTo>
                      <a:pt x="87619" y="95510"/>
                      <a:pt x="87619" y="95510"/>
                      <a:pt x="87619" y="95510"/>
                    </a:cubicBezTo>
                    <a:cubicBezTo>
                      <a:pt x="90158" y="93061"/>
                      <a:pt x="90158" y="93061"/>
                      <a:pt x="90158" y="93061"/>
                    </a:cubicBezTo>
                    <a:cubicBezTo>
                      <a:pt x="92063" y="89795"/>
                      <a:pt x="92063" y="89795"/>
                      <a:pt x="92063" y="89795"/>
                    </a:cubicBezTo>
                    <a:cubicBezTo>
                      <a:pt x="91428" y="87346"/>
                      <a:pt x="91428" y="87346"/>
                      <a:pt x="91428" y="87346"/>
                    </a:cubicBezTo>
                    <a:cubicBezTo>
                      <a:pt x="89523" y="85714"/>
                      <a:pt x="89523" y="85714"/>
                      <a:pt x="89523" y="85714"/>
                    </a:cubicBezTo>
                    <a:cubicBezTo>
                      <a:pt x="89523" y="84897"/>
                      <a:pt x="89523" y="84897"/>
                      <a:pt x="89523" y="84897"/>
                    </a:cubicBezTo>
                    <a:cubicBezTo>
                      <a:pt x="90793" y="84081"/>
                      <a:pt x="90793" y="84081"/>
                      <a:pt x="90793" y="84081"/>
                    </a:cubicBezTo>
                    <a:cubicBezTo>
                      <a:pt x="93333" y="85714"/>
                      <a:pt x="93333" y="85714"/>
                      <a:pt x="93333" y="85714"/>
                    </a:cubicBezTo>
                    <a:cubicBezTo>
                      <a:pt x="94603" y="84081"/>
                      <a:pt x="94603" y="84081"/>
                      <a:pt x="94603" y="84081"/>
                    </a:cubicBezTo>
                    <a:cubicBezTo>
                      <a:pt x="95873" y="81632"/>
                      <a:pt x="95873" y="81632"/>
                      <a:pt x="95873" y="81632"/>
                    </a:cubicBezTo>
                    <a:cubicBezTo>
                      <a:pt x="98412" y="75918"/>
                      <a:pt x="98412" y="75918"/>
                      <a:pt x="98412" y="75918"/>
                    </a:cubicBezTo>
                    <a:cubicBezTo>
                      <a:pt x="100952" y="73469"/>
                      <a:pt x="100952" y="73469"/>
                      <a:pt x="100952" y="73469"/>
                    </a:cubicBezTo>
                    <a:cubicBezTo>
                      <a:pt x="104126" y="72653"/>
                      <a:pt x="104126" y="72653"/>
                      <a:pt x="104126" y="72653"/>
                    </a:cubicBezTo>
                    <a:cubicBezTo>
                      <a:pt x="106031" y="68571"/>
                      <a:pt x="106031" y="68571"/>
                      <a:pt x="106031" y="68571"/>
                    </a:cubicBezTo>
                    <a:cubicBezTo>
                      <a:pt x="107301" y="66122"/>
                      <a:pt x="107301" y="66122"/>
                      <a:pt x="107301" y="66122"/>
                    </a:cubicBezTo>
                    <a:cubicBezTo>
                      <a:pt x="106031" y="64489"/>
                      <a:pt x="106031" y="64489"/>
                      <a:pt x="106031" y="64489"/>
                    </a:cubicBezTo>
                    <a:cubicBezTo>
                      <a:pt x="104761" y="61224"/>
                      <a:pt x="104761" y="61224"/>
                      <a:pt x="104761" y="61224"/>
                    </a:cubicBezTo>
                    <a:cubicBezTo>
                      <a:pt x="106031" y="61224"/>
                      <a:pt x="106031" y="61224"/>
                      <a:pt x="106031" y="61224"/>
                    </a:cubicBezTo>
                    <a:cubicBezTo>
                      <a:pt x="107301" y="61224"/>
                      <a:pt x="107301" y="61224"/>
                      <a:pt x="107301" y="61224"/>
                    </a:cubicBezTo>
                    <a:cubicBezTo>
                      <a:pt x="107301" y="58775"/>
                      <a:pt x="107301" y="58775"/>
                      <a:pt x="107301" y="58775"/>
                    </a:cubicBezTo>
                    <a:cubicBezTo>
                      <a:pt x="107936" y="57142"/>
                      <a:pt x="107936" y="57142"/>
                      <a:pt x="107936" y="57142"/>
                    </a:cubicBezTo>
                    <a:cubicBezTo>
                      <a:pt x="109841" y="53877"/>
                      <a:pt x="109841" y="53877"/>
                      <a:pt x="109841" y="53877"/>
                    </a:cubicBezTo>
                    <a:cubicBezTo>
                      <a:pt x="111111" y="48979"/>
                      <a:pt x="111111" y="48979"/>
                      <a:pt x="111111" y="48979"/>
                    </a:cubicBezTo>
                    <a:cubicBezTo>
                      <a:pt x="112380" y="45714"/>
                      <a:pt x="112380" y="45714"/>
                      <a:pt x="112380" y="45714"/>
                    </a:cubicBezTo>
                    <a:cubicBezTo>
                      <a:pt x="113015" y="44081"/>
                      <a:pt x="113015" y="44081"/>
                      <a:pt x="113015" y="44081"/>
                    </a:cubicBezTo>
                    <a:cubicBezTo>
                      <a:pt x="114285" y="42448"/>
                      <a:pt x="114285" y="42448"/>
                      <a:pt x="114285" y="42448"/>
                    </a:cubicBezTo>
                    <a:cubicBezTo>
                      <a:pt x="118730" y="37551"/>
                      <a:pt x="118730" y="37551"/>
                      <a:pt x="118730" y="37551"/>
                    </a:cubicBezTo>
                    <a:cubicBezTo>
                      <a:pt x="120000" y="35918"/>
                      <a:pt x="120000" y="35918"/>
                      <a:pt x="120000" y="35918"/>
                    </a:cubicBezTo>
                    <a:cubicBezTo>
                      <a:pt x="87619" y="4897"/>
                      <a:pt x="87619" y="4897"/>
                      <a:pt x="87619" y="4897"/>
                    </a:cubicBezTo>
                    <a:lnTo>
                      <a:pt x="62222" y="11428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86" name="Shape 1421">
                <a:extLst>
                  <a:ext uri="{FF2B5EF4-FFF2-40B4-BE49-F238E27FC236}">
                    <a16:creationId xmlns:a16="http://schemas.microsoft.com/office/drawing/2014/main" id="{881A2E23-EAF5-4D1B-BA33-3D4079266F2E}"/>
                  </a:ext>
                </a:extLst>
              </p:cNvPr>
              <p:cNvSpPr/>
              <p:nvPr/>
            </p:nvSpPr>
            <p:spPr>
              <a:xfrm>
                <a:off x="9244012" y="4029859"/>
                <a:ext cx="514591" cy="825193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38095" y="111683"/>
                    </a:moveTo>
                    <a:lnTo>
                      <a:pt x="37142" y="108712"/>
                    </a:lnTo>
                    <a:lnTo>
                      <a:pt x="33333" y="105742"/>
                    </a:lnTo>
                    <a:lnTo>
                      <a:pt x="31428" y="104554"/>
                    </a:lnTo>
                    <a:lnTo>
                      <a:pt x="31428" y="102772"/>
                    </a:lnTo>
                    <a:lnTo>
                      <a:pt x="34285" y="102178"/>
                    </a:lnTo>
                    <a:lnTo>
                      <a:pt x="40952" y="100990"/>
                    </a:lnTo>
                    <a:lnTo>
                      <a:pt x="48571" y="99801"/>
                    </a:lnTo>
                    <a:lnTo>
                      <a:pt x="120000" y="96237"/>
                    </a:lnTo>
                    <a:lnTo>
                      <a:pt x="119047" y="95643"/>
                    </a:lnTo>
                    <a:lnTo>
                      <a:pt x="115238" y="92673"/>
                    </a:lnTo>
                    <a:lnTo>
                      <a:pt x="114285" y="90891"/>
                    </a:lnTo>
                    <a:lnTo>
                      <a:pt x="112380" y="89108"/>
                    </a:lnTo>
                    <a:lnTo>
                      <a:pt x="113333" y="87920"/>
                    </a:lnTo>
                    <a:lnTo>
                      <a:pt x="115238" y="86732"/>
                    </a:lnTo>
                    <a:lnTo>
                      <a:pt x="114285" y="83762"/>
                    </a:lnTo>
                    <a:lnTo>
                      <a:pt x="112380" y="81980"/>
                    </a:lnTo>
                    <a:lnTo>
                      <a:pt x="110476" y="77227"/>
                    </a:lnTo>
                    <a:lnTo>
                      <a:pt x="110476" y="74257"/>
                    </a:lnTo>
                    <a:lnTo>
                      <a:pt x="113333" y="73069"/>
                    </a:lnTo>
                    <a:lnTo>
                      <a:pt x="114285" y="70693"/>
                    </a:lnTo>
                    <a:lnTo>
                      <a:pt x="110476" y="69504"/>
                    </a:lnTo>
                    <a:lnTo>
                      <a:pt x="115238" y="67722"/>
                    </a:lnTo>
                    <a:lnTo>
                      <a:pt x="116190" y="65346"/>
                    </a:lnTo>
                    <a:lnTo>
                      <a:pt x="114285" y="64158"/>
                    </a:lnTo>
                    <a:lnTo>
                      <a:pt x="113333" y="61782"/>
                    </a:lnTo>
                    <a:lnTo>
                      <a:pt x="113333" y="59405"/>
                    </a:lnTo>
                    <a:lnTo>
                      <a:pt x="109523" y="56435"/>
                    </a:lnTo>
                    <a:lnTo>
                      <a:pt x="102857" y="49306"/>
                    </a:lnTo>
                    <a:lnTo>
                      <a:pt x="100952" y="44554"/>
                    </a:lnTo>
                    <a:lnTo>
                      <a:pt x="91428" y="24356"/>
                    </a:lnTo>
                    <a:lnTo>
                      <a:pt x="84761" y="7128"/>
                    </a:lnTo>
                    <a:lnTo>
                      <a:pt x="82857" y="0"/>
                    </a:lnTo>
                    <a:lnTo>
                      <a:pt x="89523" y="0"/>
                    </a:lnTo>
                    <a:lnTo>
                      <a:pt x="89523" y="0"/>
                    </a:lnTo>
                    <a:lnTo>
                      <a:pt x="952" y="4158"/>
                    </a:lnTo>
                    <a:lnTo>
                      <a:pt x="952" y="8316"/>
                    </a:lnTo>
                    <a:lnTo>
                      <a:pt x="0" y="62970"/>
                    </a:lnTo>
                    <a:lnTo>
                      <a:pt x="0" y="92079"/>
                    </a:lnTo>
                    <a:lnTo>
                      <a:pt x="5714" y="116435"/>
                    </a:lnTo>
                    <a:lnTo>
                      <a:pt x="7619" y="116435"/>
                    </a:lnTo>
                    <a:lnTo>
                      <a:pt x="10476" y="117029"/>
                    </a:lnTo>
                    <a:lnTo>
                      <a:pt x="14285" y="117623"/>
                    </a:lnTo>
                    <a:lnTo>
                      <a:pt x="15238" y="115841"/>
                    </a:lnTo>
                    <a:lnTo>
                      <a:pt x="14285" y="113465"/>
                    </a:lnTo>
                    <a:lnTo>
                      <a:pt x="15238" y="111089"/>
                    </a:lnTo>
                    <a:lnTo>
                      <a:pt x="17142" y="109900"/>
                    </a:lnTo>
                    <a:lnTo>
                      <a:pt x="20000" y="109306"/>
                    </a:lnTo>
                    <a:lnTo>
                      <a:pt x="20952" y="110495"/>
                    </a:lnTo>
                    <a:lnTo>
                      <a:pt x="20952" y="112277"/>
                    </a:lnTo>
                    <a:lnTo>
                      <a:pt x="20000" y="113465"/>
                    </a:lnTo>
                    <a:lnTo>
                      <a:pt x="20952" y="114653"/>
                    </a:lnTo>
                    <a:lnTo>
                      <a:pt x="21904" y="115247"/>
                    </a:lnTo>
                    <a:lnTo>
                      <a:pt x="23809" y="115841"/>
                    </a:lnTo>
                    <a:lnTo>
                      <a:pt x="25714" y="117029"/>
                    </a:lnTo>
                    <a:lnTo>
                      <a:pt x="25714" y="118217"/>
                    </a:lnTo>
                    <a:lnTo>
                      <a:pt x="25714" y="118811"/>
                    </a:lnTo>
                    <a:lnTo>
                      <a:pt x="23809" y="120000"/>
                    </a:lnTo>
                    <a:lnTo>
                      <a:pt x="25714" y="119405"/>
                    </a:lnTo>
                    <a:lnTo>
                      <a:pt x="29523" y="118811"/>
                    </a:lnTo>
                    <a:lnTo>
                      <a:pt x="34285" y="118217"/>
                    </a:lnTo>
                    <a:lnTo>
                      <a:pt x="36190" y="117029"/>
                    </a:lnTo>
                    <a:lnTo>
                      <a:pt x="37142" y="117029"/>
                    </a:lnTo>
                    <a:lnTo>
                      <a:pt x="40952" y="116435"/>
                    </a:lnTo>
                    <a:lnTo>
                      <a:pt x="41904" y="115841"/>
                    </a:lnTo>
                    <a:lnTo>
                      <a:pt x="41904" y="115841"/>
                    </a:lnTo>
                    <a:lnTo>
                      <a:pt x="38095" y="111683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87" name="Shape 1422">
                <a:extLst>
                  <a:ext uri="{FF2B5EF4-FFF2-40B4-BE49-F238E27FC236}">
                    <a16:creationId xmlns:a16="http://schemas.microsoft.com/office/drawing/2014/main" id="{1021570A-E6C8-4300-9151-3D1072669661}"/>
                  </a:ext>
                </a:extLst>
              </p:cNvPr>
              <p:cNvSpPr/>
              <p:nvPr/>
            </p:nvSpPr>
            <p:spPr>
              <a:xfrm>
                <a:off x="8794760" y="4058452"/>
                <a:ext cx="473754" cy="829280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13793" y="87487"/>
                    </a:moveTo>
                    <a:lnTo>
                      <a:pt x="113793" y="58522"/>
                    </a:lnTo>
                    <a:lnTo>
                      <a:pt x="114827" y="4137"/>
                    </a:lnTo>
                    <a:lnTo>
                      <a:pt x="114827" y="0"/>
                    </a:lnTo>
                    <a:lnTo>
                      <a:pt x="42413" y="2955"/>
                    </a:lnTo>
                    <a:lnTo>
                      <a:pt x="42413" y="2955"/>
                    </a:lnTo>
                    <a:lnTo>
                      <a:pt x="43448" y="4729"/>
                    </a:lnTo>
                    <a:lnTo>
                      <a:pt x="39310" y="5911"/>
                    </a:lnTo>
                    <a:lnTo>
                      <a:pt x="37241" y="7093"/>
                    </a:lnTo>
                    <a:lnTo>
                      <a:pt x="36206" y="8866"/>
                    </a:lnTo>
                    <a:lnTo>
                      <a:pt x="34137" y="10049"/>
                    </a:lnTo>
                    <a:lnTo>
                      <a:pt x="33103" y="10049"/>
                    </a:lnTo>
                    <a:lnTo>
                      <a:pt x="31034" y="13004"/>
                    </a:lnTo>
                    <a:lnTo>
                      <a:pt x="31034" y="15369"/>
                    </a:lnTo>
                    <a:lnTo>
                      <a:pt x="27931" y="18325"/>
                    </a:lnTo>
                    <a:lnTo>
                      <a:pt x="22758" y="21871"/>
                    </a:lnTo>
                    <a:lnTo>
                      <a:pt x="19655" y="23645"/>
                    </a:lnTo>
                    <a:lnTo>
                      <a:pt x="18620" y="26009"/>
                    </a:lnTo>
                    <a:lnTo>
                      <a:pt x="20689" y="26600"/>
                    </a:lnTo>
                    <a:lnTo>
                      <a:pt x="18620" y="28374"/>
                    </a:lnTo>
                    <a:lnTo>
                      <a:pt x="16551" y="30738"/>
                    </a:lnTo>
                    <a:lnTo>
                      <a:pt x="17586" y="31921"/>
                    </a:lnTo>
                    <a:lnTo>
                      <a:pt x="16551" y="31921"/>
                    </a:lnTo>
                    <a:lnTo>
                      <a:pt x="13448" y="34285"/>
                    </a:lnTo>
                    <a:lnTo>
                      <a:pt x="11379" y="36059"/>
                    </a:lnTo>
                    <a:lnTo>
                      <a:pt x="12413" y="36650"/>
                    </a:lnTo>
                    <a:lnTo>
                      <a:pt x="11379" y="37832"/>
                    </a:lnTo>
                    <a:lnTo>
                      <a:pt x="11379" y="39014"/>
                    </a:lnTo>
                    <a:lnTo>
                      <a:pt x="12413" y="39605"/>
                    </a:lnTo>
                    <a:lnTo>
                      <a:pt x="14482" y="41379"/>
                    </a:lnTo>
                    <a:lnTo>
                      <a:pt x="14482" y="42561"/>
                    </a:lnTo>
                    <a:lnTo>
                      <a:pt x="14482" y="46108"/>
                    </a:lnTo>
                    <a:lnTo>
                      <a:pt x="15517" y="47881"/>
                    </a:lnTo>
                    <a:lnTo>
                      <a:pt x="14482" y="49655"/>
                    </a:lnTo>
                    <a:lnTo>
                      <a:pt x="12413" y="52610"/>
                    </a:lnTo>
                    <a:lnTo>
                      <a:pt x="11379" y="52610"/>
                    </a:lnTo>
                    <a:lnTo>
                      <a:pt x="14482" y="53793"/>
                    </a:lnTo>
                    <a:lnTo>
                      <a:pt x="15517" y="55566"/>
                    </a:lnTo>
                    <a:lnTo>
                      <a:pt x="15517" y="56748"/>
                    </a:lnTo>
                    <a:lnTo>
                      <a:pt x="11379" y="57931"/>
                    </a:lnTo>
                    <a:lnTo>
                      <a:pt x="14482" y="59113"/>
                    </a:lnTo>
                    <a:lnTo>
                      <a:pt x="15517" y="60295"/>
                    </a:lnTo>
                    <a:lnTo>
                      <a:pt x="15517" y="60886"/>
                    </a:lnTo>
                    <a:lnTo>
                      <a:pt x="16551" y="63842"/>
                    </a:lnTo>
                    <a:lnTo>
                      <a:pt x="16551" y="65024"/>
                    </a:lnTo>
                    <a:lnTo>
                      <a:pt x="19655" y="66206"/>
                    </a:lnTo>
                    <a:lnTo>
                      <a:pt x="20689" y="67980"/>
                    </a:lnTo>
                    <a:lnTo>
                      <a:pt x="19655" y="72709"/>
                    </a:lnTo>
                    <a:lnTo>
                      <a:pt x="16551" y="74482"/>
                    </a:lnTo>
                    <a:lnTo>
                      <a:pt x="15517" y="74482"/>
                    </a:lnTo>
                    <a:lnTo>
                      <a:pt x="15517" y="76847"/>
                    </a:lnTo>
                    <a:lnTo>
                      <a:pt x="14482" y="78029"/>
                    </a:lnTo>
                    <a:lnTo>
                      <a:pt x="10344" y="81576"/>
                    </a:lnTo>
                    <a:lnTo>
                      <a:pt x="8275" y="82758"/>
                    </a:lnTo>
                    <a:lnTo>
                      <a:pt x="7241" y="86896"/>
                    </a:lnTo>
                    <a:lnTo>
                      <a:pt x="6206" y="88078"/>
                    </a:lnTo>
                    <a:lnTo>
                      <a:pt x="5172" y="88669"/>
                    </a:lnTo>
                    <a:lnTo>
                      <a:pt x="4137" y="90443"/>
                    </a:lnTo>
                    <a:lnTo>
                      <a:pt x="4137" y="91625"/>
                    </a:lnTo>
                    <a:lnTo>
                      <a:pt x="4137" y="94581"/>
                    </a:lnTo>
                    <a:lnTo>
                      <a:pt x="1034" y="95763"/>
                    </a:lnTo>
                    <a:lnTo>
                      <a:pt x="0" y="96945"/>
                    </a:lnTo>
                    <a:lnTo>
                      <a:pt x="0" y="98719"/>
                    </a:lnTo>
                    <a:lnTo>
                      <a:pt x="1034" y="101083"/>
                    </a:lnTo>
                    <a:lnTo>
                      <a:pt x="68275" y="99310"/>
                    </a:lnTo>
                    <a:lnTo>
                      <a:pt x="67241" y="108768"/>
                    </a:lnTo>
                    <a:lnTo>
                      <a:pt x="69310" y="111133"/>
                    </a:lnTo>
                    <a:lnTo>
                      <a:pt x="72413" y="113497"/>
                    </a:lnTo>
                    <a:lnTo>
                      <a:pt x="73448" y="117635"/>
                    </a:lnTo>
                    <a:lnTo>
                      <a:pt x="73448" y="120000"/>
                    </a:lnTo>
                    <a:lnTo>
                      <a:pt x="73448" y="120000"/>
                    </a:lnTo>
                    <a:lnTo>
                      <a:pt x="74482" y="120000"/>
                    </a:lnTo>
                    <a:lnTo>
                      <a:pt x="79655" y="118226"/>
                    </a:lnTo>
                    <a:lnTo>
                      <a:pt x="81724" y="117635"/>
                    </a:lnTo>
                    <a:lnTo>
                      <a:pt x="84827" y="116453"/>
                    </a:lnTo>
                    <a:lnTo>
                      <a:pt x="84827" y="114088"/>
                    </a:lnTo>
                    <a:lnTo>
                      <a:pt x="88965" y="114088"/>
                    </a:lnTo>
                    <a:lnTo>
                      <a:pt x="92068" y="114088"/>
                    </a:lnTo>
                    <a:lnTo>
                      <a:pt x="96206" y="113497"/>
                    </a:lnTo>
                    <a:lnTo>
                      <a:pt x="101379" y="112315"/>
                    </a:lnTo>
                    <a:lnTo>
                      <a:pt x="105517" y="112315"/>
                    </a:lnTo>
                    <a:lnTo>
                      <a:pt x="107586" y="112315"/>
                    </a:lnTo>
                    <a:lnTo>
                      <a:pt x="110689" y="112315"/>
                    </a:lnTo>
                    <a:lnTo>
                      <a:pt x="112758" y="112315"/>
                    </a:lnTo>
                    <a:lnTo>
                      <a:pt x="116896" y="113497"/>
                    </a:lnTo>
                    <a:lnTo>
                      <a:pt x="118965" y="112315"/>
                    </a:lnTo>
                    <a:lnTo>
                      <a:pt x="120000" y="111724"/>
                    </a:lnTo>
                    <a:lnTo>
                      <a:pt x="120000" y="111724"/>
                    </a:lnTo>
                    <a:lnTo>
                      <a:pt x="120000" y="111724"/>
                    </a:lnTo>
                    <a:lnTo>
                      <a:pt x="113793" y="87487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88" name="Shape 1423">
                <a:extLst>
                  <a:ext uri="{FF2B5EF4-FFF2-40B4-BE49-F238E27FC236}">
                    <a16:creationId xmlns:a16="http://schemas.microsoft.com/office/drawing/2014/main" id="{B15F1270-432E-4D36-A8B5-136F9A185694}"/>
                  </a:ext>
                </a:extLst>
              </p:cNvPr>
              <p:cNvSpPr/>
              <p:nvPr/>
            </p:nvSpPr>
            <p:spPr>
              <a:xfrm>
                <a:off x="10289534" y="3057596"/>
                <a:ext cx="588107" cy="428940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94588" y="0"/>
                    </a:moveTo>
                    <a:cubicBezTo>
                      <a:pt x="0" y="23414"/>
                      <a:pt x="0" y="23414"/>
                      <a:pt x="0" y="23414"/>
                    </a:cubicBezTo>
                    <a:cubicBezTo>
                      <a:pt x="0" y="23414"/>
                      <a:pt x="0" y="23414"/>
                      <a:pt x="0" y="23414"/>
                    </a:cubicBezTo>
                    <a:cubicBezTo>
                      <a:pt x="2117" y="42926"/>
                      <a:pt x="2117" y="42926"/>
                      <a:pt x="2117" y="42926"/>
                    </a:cubicBezTo>
                    <a:cubicBezTo>
                      <a:pt x="4941" y="42926"/>
                      <a:pt x="4941" y="42926"/>
                      <a:pt x="4941" y="42926"/>
                    </a:cubicBezTo>
                    <a:cubicBezTo>
                      <a:pt x="11294" y="32195"/>
                      <a:pt x="11294" y="32195"/>
                      <a:pt x="11294" y="32195"/>
                    </a:cubicBezTo>
                    <a:cubicBezTo>
                      <a:pt x="15529" y="32195"/>
                      <a:pt x="15529" y="32195"/>
                      <a:pt x="15529" y="32195"/>
                    </a:cubicBezTo>
                    <a:cubicBezTo>
                      <a:pt x="19764" y="24390"/>
                      <a:pt x="19764" y="24390"/>
                      <a:pt x="19764" y="24390"/>
                    </a:cubicBezTo>
                    <a:cubicBezTo>
                      <a:pt x="21176" y="24390"/>
                      <a:pt x="21176" y="24390"/>
                      <a:pt x="21176" y="24390"/>
                    </a:cubicBezTo>
                    <a:cubicBezTo>
                      <a:pt x="21882" y="26341"/>
                      <a:pt x="21882" y="26341"/>
                      <a:pt x="21882" y="26341"/>
                    </a:cubicBezTo>
                    <a:cubicBezTo>
                      <a:pt x="26823" y="21463"/>
                      <a:pt x="26823" y="21463"/>
                      <a:pt x="26823" y="21463"/>
                    </a:cubicBezTo>
                    <a:cubicBezTo>
                      <a:pt x="28941" y="21463"/>
                      <a:pt x="28941" y="21463"/>
                      <a:pt x="28941" y="21463"/>
                    </a:cubicBezTo>
                    <a:cubicBezTo>
                      <a:pt x="34588" y="17560"/>
                      <a:pt x="34588" y="17560"/>
                      <a:pt x="34588" y="17560"/>
                    </a:cubicBezTo>
                    <a:cubicBezTo>
                      <a:pt x="44470" y="21463"/>
                      <a:pt x="44470" y="21463"/>
                      <a:pt x="44470" y="21463"/>
                    </a:cubicBezTo>
                    <a:cubicBezTo>
                      <a:pt x="47294" y="27317"/>
                      <a:pt x="47294" y="27317"/>
                      <a:pt x="47294" y="27317"/>
                    </a:cubicBezTo>
                    <a:cubicBezTo>
                      <a:pt x="49411" y="35121"/>
                      <a:pt x="49411" y="35121"/>
                      <a:pt x="49411" y="35121"/>
                    </a:cubicBezTo>
                    <a:cubicBezTo>
                      <a:pt x="50117" y="35121"/>
                      <a:pt x="50117" y="35121"/>
                      <a:pt x="50117" y="35121"/>
                    </a:cubicBezTo>
                    <a:cubicBezTo>
                      <a:pt x="58588" y="41951"/>
                      <a:pt x="58588" y="41951"/>
                      <a:pt x="58588" y="41951"/>
                    </a:cubicBezTo>
                    <a:cubicBezTo>
                      <a:pt x="62117" y="46829"/>
                      <a:pt x="62117" y="46829"/>
                      <a:pt x="62117" y="46829"/>
                    </a:cubicBezTo>
                    <a:cubicBezTo>
                      <a:pt x="65647" y="49756"/>
                      <a:pt x="65647" y="49756"/>
                      <a:pt x="65647" y="49756"/>
                    </a:cubicBezTo>
                    <a:cubicBezTo>
                      <a:pt x="66352" y="54634"/>
                      <a:pt x="66352" y="54634"/>
                      <a:pt x="66352" y="54634"/>
                    </a:cubicBezTo>
                    <a:cubicBezTo>
                      <a:pt x="64941" y="58536"/>
                      <a:pt x="64941" y="58536"/>
                      <a:pt x="64941" y="58536"/>
                    </a:cubicBezTo>
                    <a:cubicBezTo>
                      <a:pt x="62117" y="59512"/>
                      <a:pt x="62117" y="59512"/>
                      <a:pt x="62117" y="59512"/>
                    </a:cubicBezTo>
                    <a:cubicBezTo>
                      <a:pt x="62823" y="72195"/>
                      <a:pt x="62823" y="72195"/>
                      <a:pt x="62823" y="72195"/>
                    </a:cubicBezTo>
                    <a:cubicBezTo>
                      <a:pt x="64235" y="74146"/>
                      <a:pt x="64235" y="74146"/>
                      <a:pt x="64235" y="74146"/>
                    </a:cubicBezTo>
                    <a:cubicBezTo>
                      <a:pt x="66352" y="73170"/>
                      <a:pt x="66352" y="73170"/>
                      <a:pt x="66352" y="73170"/>
                    </a:cubicBezTo>
                    <a:cubicBezTo>
                      <a:pt x="68470" y="72195"/>
                      <a:pt x="68470" y="72195"/>
                      <a:pt x="68470" y="72195"/>
                    </a:cubicBezTo>
                    <a:cubicBezTo>
                      <a:pt x="71294" y="73170"/>
                      <a:pt x="71294" y="73170"/>
                      <a:pt x="71294" y="73170"/>
                    </a:cubicBezTo>
                    <a:cubicBezTo>
                      <a:pt x="72000" y="74146"/>
                      <a:pt x="72000" y="74146"/>
                      <a:pt x="72000" y="74146"/>
                    </a:cubicBezTo>
                    <a:cubicBezTo>
                      <a:pt x="74823" y="73170"/>
                      <a:pt x="74823" y="73170"/>
                      <a:pt x="74823" y="73170"/>
                    </a:cubicBezTo>
                    <a:cubicBezTo>
                      <a:pt x="84000" y="74146"/>
                      <a:pt x="84000" y="74146"/>
                      <a:pt x="84000" y="74146"/>
                    </a:cubicBezTo>
                    <a:cubicBezTo>
                      <a:pt x="86117" y="76097"/>
                      <a:pt x="86117" y="76097"/>
                      <a:pt x="86117" y="76097"/>
                    </a:cubicBezTo>
                    <a:cubicBezTo>
                      <a:pt x="88941" y="78048"/>
                      <a:pt x="88941" y="78048"/>
                      <a:pt x="88941" y="78048"/>
                    </a:cubicBezTo>
                    <a:cubicBezTo>
                      <a:pt x="91058" y="77073"/>
                      <a:pt x="91058" y="77073"/>
                      <a:pt x="91058" y="77073"/>
                    </a:cubicBezTo>
                    <a:cubicBezTo>
                      <a:pt x="89647" y="73170"/>
                      <a:pt x="89647" y="73170"/>
                      <a:pt x="89647" y="73170"/>
                    </a:cubicBezTo>
                    <a:cubicBezTo>
                      <a:pt x="87529" y="70243"/>
                      <a:pt x="87529" y="70243"/>
                      <a:pt x="87529" y="70243"/>
                    </a:cubicBezTo>
                    <a:cubicBezTo>
                      <a:pt x="87529" y="67317"/>
                      <a:pt x="87529" y="67317"/>
                      <a:pt x="87529" y="67317"/>
                    </a:cubicBezTo>
                    <a:cubicBezTo>
                      <a:pt x="87529" y="66341"/>
                      <a:pt x="87529" y="66341"/>
                      <a:pt x="87529" y="66341"/>
                    </a:cubicBezTo>
                    <a:cubicBezTo>
                      <a:pt x="83294" y="58536"/>
                      <a:pt x="83294" y="58536"/>
                      <a:pt x="83294" y="58536"/>
                    </a:cubicBezTo>
                    <a:cubicBezTo>
                      <a:pt x="81882" y="55609"/>
                      <a:pt x="81882" y="55609"/>
                      <a:pt x="81882" y="55609"/>
                    </a:cubicBezTo>
                    <a:cubicBezTo>
                      <a:pt x="81882" y="48780"/>
                      <a:pt x="81882" y="48780"/>
                      <a:pt x="81882" y="48780"/>
                    </a:cubicBezTo>
                    <a:cubicBezTo>
                      <a:pt x="81176" y="41951"/>
                      <a:pt x="81176" y="41951"/>
                      <a:pt x="81176" y="41951"/>
                    </a:cubicBezTo>
                    <a:cubicBezTo>
                      <a:pt x="81882" y="35121"/>
                      <a:pt x="81882" y="35121"/>
                      <a:pt x="81882" y="35121"/>
                    </a:cubicBezTo>
                    <a:cubicBezTo>
                      <a:pt x="79764" y="30243"/>
                      <a:pt x="79764" y="30243"/>
                      <a:pt x="79764" y="30243"/>
                    </a:cubicBezTo>
                    <a:cubicBezTo>
                      <a:pt x="78352" y="27317"/>
                      <a:pt x="78352" y="27317"/>
                      <a:pt x="78352" y="27317"/>
                    </a:cubicBezTo>
                    <a:cubicBezTo>
                      <a:pt x="81176" y="27317"/>
                      <a:pt x="81176" y="27317"/>
                      <a:pt x="81176" y="27317"/>
                    </a:cubicBezTo>
                    <a:cubicBezTo>
                      <a:pt x="83294" y="21463"/>
                      <a:pt x="83294" y="21463"/>
                      <a:pt x="83294" y="21463"/>
                    </a:cubicBezTo>
                    <a:cubicBezTo>
                      <a:pt x="87529" y="17560"/>
                      <a:pt x="87529" y="17560"/>
                      <a:pt x="87529" y="17560"/>
                    </a:cubicBezTo>
                    <a:cubicBezTo>
                      <a:pt x="89647" y="11707"/>
                      <a:pt x="89647" y="11707"/>
                      <a:pt x="89647" y="11707"/>
                    </a:cubicBezTo>
                    <a:cubicBezTo>
                      <a:pt x="91058" y="12682"/>
                      <a:pt x="91058" y="12682"/>
                      <a:pt x="91058" y="12682"/>
                    </a:cubicBezTo>
                    <a:cubicBezTo>
                      <a:pt x="90352" y="19512"/>
                      <a:pt x="90352" y="19512"/>
                      <a:pt x="90352" y="19512"/>
                    </a:cubicBezTo>
                    <a:cubicBezTo>
                      <a:pt x="88235" y="20487"/>
                      <a:pt x="88235" y="20487"/>
                      <a:pt x="88235" y="20487"/>
                    </a:cubicBezTo>
                    <a:cubicBezTo>
                      <a:pt x="86823" y="26341"/>
                      <a:pt x="86823" y="26341"/>
                      <a:pt x="86823" y="26341"/>
                    </a:cubicBezTo>
                    <a:cubicBezTo>
                      <a:pt x="86823" y="30243"/>
                      <a:pt x="86823" y="30243"/>
                      <a:pt x="86823" y="30243"/>
                    </a:cubicBezTo>
                    <a:cubicBezTo>
                      <a:pt x="89647" y="30243"/>
                      <a:pt x="89647" y="30243"/>
                      <a:pt x="89647" y="30243"/>
                    </a:cubicBezTo>
                    <a:cubicBezTo>
                      <a:pt x="86117" y="35121"/>
                      <a:pt x="86117" y="35121"/>
                      <a:pt x="86117" y="35121"/>
                    </a:cubicBezTo>
                    <a:cubicBezTo>
                      <a:pt x="84705" y="38048"/>
                      <a:pt x="84705" y="38048"/>
                      <a:pt x="84705" y="38048"/>
                    </a:cubicBezTo>
                    <a:cubicBezTo>
                      <a:pt x="88941" y="40000"/>
                      <a:pt x="88941" y="40000"/>
                      <a:pt x="88941" y="40000"/>
                    </a:cubicBezTo>
                    <a:cubicBezTo>
                      <a:pt x="90352" y="40975"/>
                      <a:pt x="90352" y="40975"/>
                      <a:pt x="90352" y="40975"/>
                    </a:cubicBezTo>
                    <a:cubicBezTo>
                      <a:pt x="92470" y="44878"/>
                      <a:pt x="92470" y="44878"/>
                      <a:pt x="92470" y="44878"/>
                    </a:cubicBezTo>
                    <a:cubicBezTo>
                      <a:pt x="91764" y="45853"/>
                      <a:pt x="91764" y="45853"/>
                      <a:pt x="91764" y="45853"/>
                    </a:cubicBezTo>
                    <a:cubicBezTo>
                      <a:pt x="94588" y="49756"/>
                      <a:pt x="94588" y="49756"/>
                      <a:pt x="94588" y="49756"/>
                    </a:cubicBezTo>
                    <a:cubicBezTo>
                      <a:pt x="94588" y="51707"/>
                      <a:pt x="94588" y="51707"/>
                      <a:pt x="94588" y="51707"/>
                    </a:cubicBezTo>
                    <a:cubicBezTo>
                      <a:pt x="91764" y="55609"/>
                      <a:pt x="91764" y="55609"/>
                      <a:pt x="91764" y="55609"/>
                    </a:cubicBezTo>
                    <a:cubicBezTo>
                      <a:pt x="89647" y="55609"/>
                      <a:pt x="89647" y="55609"/>
                      <a:pt x="89647" y="55609"/>
                    </a:cubicBezTo>
                    <a:cubicBezTo>
                      <a:pt x="90352" y="59512"/>
                      <a:pt x="90352" y="59512"/>
                      <a:pt x="90352" y="59512"/>
                    </a:cubicBezTo>
                    <a:cubicBezTo>
                      <a:pt x="89647" y="61463"/>
                      <a:pt x="89647" y="61463"/>
                      <a:pt x="89647" y="61463"/>
                    </a:cubicBezTo>
                    <a:cubicBezTo>
                      <a:pt x="91058" y="63414"/>
                      <a:pt x="91058" y="63414"/>
                      <a:pt x="91058" y="63414"/>
                    </a:cubicBezTo>
                    <a:cubicBezTo>
                      <a:pt x="93882" y="64390"/>
                      <a:pt x="93882" y="64390"/>
                      <a:pt x="93882" y="64390"/>
                    </a:cubicBezTo>
                    <a:cubicBezTo>
                      <a:pt x="98117" y="64390"/>
                      <a:pt x="98117" y="64390"/>
                      <a:pt x="98117" y="64390"/>
                    </a:cubicBezTo>
                    <a:cubicBezTo>
                      <a:pt x="100941" y="67317"/>
                      <a:pt x="100941" y="67317"/>
                      <a:pt x="100941" y="67317"/>
                    </a:cubicBezTo>
                    <a:cubicBezTo>
                      <a:pt x="103058" y="73170"/>
                      <a:pt x="103058" y="73170"/>
                      <a:pt x="103058" y="73170"/>
                    </a:cubicBezTo>
                    <a:cubicBezTo>
                      <a:pt x="104470" y="78048"/>
                      <a:pt x="104470" y="78048"/>
                      <a:pt x="104470" y="78048"/>
                    </a:cubicBezTo>
                    <a:cubicBezTo>
                      <a:pt x="103764" y="79024"/>
                      <a:pt x="103764" y="79024"/>
                      <a:pt x="103764" y="79024"/>
                    </a:cubicBezTo>
                    <a:cubicBezTo>
                      <a:pt x="105882" y="81951"/>
                      <a:pt x="105882" y="81951"/>
                      <a:pt x="105882" y="81951"/>
                    </a:cubicBezTo>
                    <a:cubicBezTo>
                      <a:pt x="107294" y="86829"/>
                      <a:pt x="107294" y="86829"/>
                      <a:pt x="107294" y="86829"/>
                    </a:cubicBezTo>
                    <a:cubicBezTo>
                      <a:pt x="105176" y="95609"/>
                      <a:pt x="105176" y="95609"/>
                      <a:pt x="105176" y="95609"/>
                    </a:cubicBezTo>
                    <a:cubicBezTo>
                      <a:pt x="104470" y="101463"/>
                      <a:pt x="104470" y="101463"/>
                      <a:pt x="104470" y="101463"/>
                    </a:cubicBezTo>
                    <a:cubicBezTo>
                      <a:pt x="104470" y="111219"/>
                      <a:pt x="104470" y="111219"/>
                      <a:pt x="104470" y="111219"/>
                    </a:cubicBezTo>
                    <a:cubicBezTo>
                      <a:pt x="105176" y="117073"/>
                      <a:pt x="105176" y="117073"/>
                      <a:pt x="105176" y="117073"/>
                    </a:cubicBezTo>
                    <a:cubicBezTo>
                      <a:pt x="106588" y="120000"/>
                      <a:pt x="106588" y="120000"/>
                      <a:pt x="106588" y="120000"/>
                    </a:cubicBezTo>
                    <a:cubicBezTo>
                      <a:pt x="108000" y="113170"/>
                      <a:pt x="108000" y="113170"/>
                      <a:pt x="108000" y="113170"/>
                    </a:cubicBezTo>
                    <a:cubicBezTo>
                      <a:pt x="108705" y="102439"/>
                      <a:pt x="108705" y="102439"/>
                      <a:pt x="108705" y="102439"/>
                    </a:cubicBezTo>
                    <a:cubicBezTo>
                      <a:pt x="110823" y="99512"/>
                      <a:pt x="110823" y="99512"/>
                      <a:pt x="110823" y="99512"/>
                    </a:cubicBezTo>
                    <a:cubicBezTo>
                      <a:pt x="110823" y="96585"/>
                      <a:pt x="110823" y="96585"/>
                      <a:pt x="110823" y="96585"/>
                    </a:cubicBezTo>
                    <a:cubicBezTo>
                      <a:pt x="110823" y="94634"/>
                      <a:pt x="110823" y="94634"/>
                      <a:pt x="110823" y="94634"/>
                    </a:cubicBezTo>
                    <a:cubicBezTo>
                      <a:pt x="112941" y="92682"/>
                      <a:pt x="112941" y="92682"/>
                      <a:pt x="112941" y="92682"/>
                    </a:cubicBezTo>
                    <a:cubicBezTo>
                      <a:pt x="115058" y="88780"/>
                      <a:pt x="115058" y="88780"/>
                      <a:pt x="115058" y="88780"/>
                    </a:cubicBezTo>
                    <a:cubicBezTo>
                      <a:pt x="115058" y="80000"/>
                      <a:pt x="115058" y="80000"/>
                      <a:pt x="115058" y="80000"/>
                    </a:cubicBezTo>
                    <a:cubicBezTo>
                      <a:pt x="115058" y="77073"/>
                      <a:pt x="115058" y="77073"/>
                      <a:pt x="115058" y="77073"/>
                    </a:cubicBezTo>
                    <a:cubicBezTo>
                      <a:pt x="115058" y="73170"/>
                      <a:pt x="115058" y="73170"/>
                      <a:pt x="115058" y="73170"/>
                    </a:cubicBezTo>
                    <a:cubicBezTo>
                      <a:pt x="117882" y="69268"/>
                      <a:pt x="117882" y="69268"/>
                      <a:pt x="117882" y="69268"/>
                    </a:cubicBezTo>
                    <a:cubicBezTo>
                      <a:pt x="118588" y="72195"/>
                      <a:pt x="118588" y="72195"/>
                      <a:pt x="118588" y="72195"/>
                    </a:cubicBezTo>
                    <a:cubicBezTo>
                      <a:pt x="117882" y="75121"/>
                      <a:pt x="117882" y="75121"/>
                      <a:pt x="117882" y="75121"/>
                    </a:cubicBezTo>
                    <a:cubicBezTo>
                      <a:pt x="117882" y="75121"/>
                      <a:pt x="116470" y="78048"/>
                      <a:pt x="116470" y="78048"/>
                    </a:cubicBezTo>
                    <a:cubicBezTo>
                      <a:pt x="117176" y="79024"/>
                      <a:pt x="118588" y="80000"/>
                      <a:pt x="118588" y="80000"/>
                    </a:cubicBezTo>
                    <a:cubicBezTo>
                      <a:pt x="120000" y="75121"/>
                      <a:pt x="120000" y="75121"/>
                      <a:pt x="120000" y="75121"/>
                    </a:cubicBezTo>
                    <a:cubicBezTo>
                      <a:pt x="120000" y="66341"/>
                      <a:pt x="120000" y="66341"/>
                      <a:pt x="120000" y="66341"/>
                    </a:cubicBezTo>
                    <a:cubicBezTo>
                      <a:pt x="119294" y="52682"/>
                      <a:pt x="119294" y="52682"/>
                      <a:pt x="119294" y="52682"/>
                    </a:cubicBezTo>
                    <a:cubicBezTo>
                      <a:pt x="119294" y="52682"/>
                      <a:pt x="119294" y="52682"/>
                      <a:pt x="119294" y="52682"/>
                    </a:cubicBezTo>
                    <a:cubicBezTo>
                      <a:pt x="104470" y="55609"/>
                      <a:pt x="104470" y="55609"/>
                      <a:pt x="104470" y="55609"/>
                    </a:cubicBezTo>
                    <a:lnTo>
                      <a:pt x="94588" y="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89" name="Shape 1424">
                <a:extLst>
                  <a:ext uri="{FF2B5EF4-FFF2-40B4-BE49-F238E27FC236}">
                    <a16:creationId xmlns:a16="http://schemas.microsoft.com/office/drawing/2014/main" id="{86141235-717E-4A17-AD2F-4C1DD7A4412B}"/>
                  </a:ext>
                </a:extLst>
              </p:cNvPr>
              <p:cNvSpPr/>
              <p:nvPr/>
            </p:nvSpPr>
            <p:spPr>
              <a:xfrm>
                <a:off x="9930135" y="3008577"/>
                <a:ext cx="604444" cy="596428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7027" y="111780"/>
                    </a:moveTo>
                    <a:lnTo>
                      <a:pt x="19459" y="111780"/>
                    </a:lnTo>
                    <a:lnTo>
                      <a:pt x="20270" y="114246"/>
                    </a:lnTo>
                    <a:lnTo>
                      <a:pt x="25135" y="118356"/>
                    </a:lnTo>
                    <a:lnTo>
                      <a:pt x="29189" y="119999"/>
                    </a:lnTo>
                    <a:lnTo>
                      <a:pt x="30810" y="119999"/>
                    </a:lnTo>
                    <a:lnTo>
                      <a:pt x="35675" y="114246"/>
                    </a:lnTo>
                    <a:lnTo>
                      <a:pt x="38918" y="116712"/>
                    </a:lnTo>
                    <a:lnTo>
                      <a:pt x="46216" y="115068"/>
                    </a:lnTo>
                    <a:lnTo>
                      <a:pt x="51891" y="110136"/>
                    </a:lnTo>
                    <a:lnTo>
                      <a:pt x="60810" y="105205"/>
                    </a:lnTo>
                    <a:lnTo>
                      <a:pt x="64054" y="102739"/>
                    </a:lnTo>
                    <a:lnTo>
                      <a:pt x="63243" y="96164"/>
                    </a:lnTo>
                    <a:lnTo>
                      <a:pt x="64054" y="92054"/>
                    </a:lnTo>
                    <a:lnTo>
                      <a:pt x="68108" y="87945"/>
                    </a:lnTo>
                    <a:lnTo>
                      <a:pt x="70540" y="81369"/>
                    </a:lnTo>
                    <a:lnTo>
                      <a:pt x="72972" y="71506"/>
                    </a:lnTo>
                    <a:lnTo>
                      <a:pt x="73783" y="65753"/>
                    </a:lnTo>
                    <a:lnTo>
                      <a:pt x="77027" y="67397"/>
                    </a:lnTo>
                    <a:lnTo>
                      <a:pt x="81081" y="69041"/>
                    </a:lnTo>
                    <a:lnTo>
                      <a:pt x="82702" y="69863"/>
                    </a:lnTo>
                    <a:lnTo>
                      <a:pt x="83513" y="68219"/>
                    </a:lnTo>
                    <a:lnTo>
                      <a:pt x="85945" y="61643"/>
                    </a:lnTo>
                    <a:lnTo>
                      <a:pt x="87567" y="58356"/>
                    </a:lnTo>
                    <a:lnTo>
                      <a:pt x="88378" y="55068"/>
                    </a:lnTo>
                    <a:lnTo>
                      <a:pt x="89189" y="55068"/>
                    </a:lnTo>
                    <a:lnTo>
                      <a:pt x="91621" y="55068"/>
                    </a:lnTo>
                    <a:lnTo>
                      <a:pt x="92432" y="56712"/>
                    </a:lnTo>
                    <a:lnTo>
                      <a:pt x="96486" y="49315"/>
                    </a:lnTo>
                    <a:lnTo>
                      <a:pt x="98918" y="46849"/>
                    </a:lnTo>
                    <a:lnTo>
                      <a:pt x="100540" y="44383"/>
                    </a:lnTo>
                    <a:lnTo>
                      <a:pt x="102162" y="38630"/>
                    </a:lnTo>
                    <a:lnTo>
                      <a:pt x="102162" y="32054"/>
                    </a:lnTo>
                    <a:lnTo>
                      <a:pt x="109459" y="36164"/>
                    </a:lnTo>
                    <a:lnTo>
                      <a:pt x="114324" y="38630"/>
                    </a:lnTo>
                    <a:lnTo>
                      <a:pt x="115945" y="38630"/>
                    </a:lnTo>
                    <a:lnTo>
                      <a:pt x="118378" y="36164"/>
                    </a:lnTo>
                    <a:lnTo>
                      <a:pt x="120000" y="35342"/>
                    </a:lnTo>
                    <a:lnTo>
                      <a:pt x="119189" y="35342"/>
                    </a:lnTo>
                    <a:lnTo>
                      <a:pt x="117567" y="29589"/>
                    </a:lnTo>
                    <a:lnTo>
                      <a:pt x="114324" y="25479"/>
                    </a:lnTo>
                    <a:lnTo>
                      <a:pt x="105405" y="23013"/>
                    </a:lnTo>
                    <a:lnTo>
                      <a:pt x="99729" y="25479"/>
                    </a:lnTo>
                    <a:lnTo>
                      <a:pt x="97297" y="25479"/>
                    </a:lnTo>
                    <a:lnTo>
                      <a:pt x="92432" y="28767"/>
                    </a:lnTo>
                    <a:lnTo>
                      <a:pt x="91621" y="27945"/>
                    </a:lnTo>
                    <a:lnTo>
                      <a:pt x="90810" y="27945"/>
                    </a:lnTo>
                    <a:lnTo>
                      <a:pt x="86756" y="32876"/>
                    </a:lnTo>
                    <a:lnTo>
                      <a:pt x="82702" y="32876"/>
                    </a:lnTo>
                    <a:lnTo>
                      <a:pt x="76216" y="41095"/>
                    </a:lnTo>
                    <a:lnTo>
                      <a:pt x="73783" y="41095"/>
                    </a:lnTo>
                    <a:lnTo>
                      <a:pt x="71351" y="27123"/>
                    </a:lnTo>
                    <a:lnTo>
                      <a:pt x="46216" y="32054"/>
                    </a:lnTo>
                    <a:lnTo>
                      <a:pt x="41351" y="0"/>
                    </a:lnTo>
                    <a:lnTo>
                      <a:pt x="38918" y="0"/>
                    </a:lnTo>
                    <a:lnTo>
                      <a:pt x="38108" y="2465"/>
                    </a:lnTo>
                    <a:lnTo>
                      <a:pt x="38918" y="4931"/>
                    </a:lnTo>
                    <a:lnTo>
                      <a:pt x="38918" y="5753"/>
                    </a:lnTo>
                    <a:lnTo>
                      <a:pt x="38918" y="12328"/>
                    </a:lnTo>
                    <a:lnTo>
                      <a:pt x="38918" y="15616"/>
                    </a:lnTo>
                    <a:lnTo>
                      <a:pt x="38108" y="18082"/>
                    </a:lnTo>
                    <a:lnTo>
                      <a:pt x="38108" y="23013"/>
                    </a:lnTo>
                    <a:lnTo>
                      <a:pt x="37297" y="29589"/>
                    </a:lnTo>
                    <a:lnTo>
                      <a:pt x="37297" y="32054"/>
                    </a:lnTo>
                    <a:lnTo>
                      <a:pt x="35675" y="36164"/>
                    </a:lnTo>
                    <a:lnTo>
                      <a:pt x="29189" y="41917"/>
                    </a:lnTo>
                    <a:lnTo>
                      <a:pt x="26756" y="45205"/>
                    </a:lnTo>
                    <a:lnTo>
                      <a:pt x="22702" y="45205"/>
                    </a:lnTo>
                    <a:lnTo>
                      <a:pt x="19459" y="50136"/>
                    </a:lnTo>
                    <a:lnTo>
                      <a:pt x="17027" y="53424"/>
                    </a:lnTo>
                    <a:lnTo>
                      <a:pt x="16216" y="61643"/>
                    </a:lnTo>
                    <a:lnTo>
                      <a:pt x="15405" y="62465"/>
                    </a:lnTo>
                    <a:lnTo>
                      <a:pt x="12162" y="59999"/>
                    </a:lnTo>
                    <a:lnTo>
                      <a:pt x="9729" y="62465"/>
                    </a:lnTo>
                    <a:lnTo>
                      <a:pt x="7297" y="71506"/>
                    </a:lnTo>
                    <a:lnTo>
                      <a:pt x="7297" y="74794"/>
                    </a:lnTo>
                    <a:lnTo>
                      <a:pt x="5675" y="77260"/>
                    </a:lnTo>
                    <a:lnTo>
                      <a:pt x="2432" y="80547"/>
                    </a:lnTo>
                    <a:lnTo>
                      <a:pt x="0" y="83013"/>
                    </a:lnTo>
                    <a:lnTo>
                      <a:pt x="2432" y="93698"/>
                    </a:lnTo>
                    <a:lnTo>
                      <a:pt x="4054" y="98630"/>
                    </a:lnTo>
                    <a:lnTo>
                      <a:pt x="8108" y="104383"/>
                    </a:lnTo>
                    <a:lnTo>
                      <a:pt x="12162" y="108493"/>
                    </a:lnTo>
                    <a:lnTo>
                      <a:pt x="15405" y="113424"/>
                    </a:lnTo>
                    <a:lnTo>
                      <a:pt x="16216" y="113424"/>
                    </a:lnTo>
                    <a:lnTo>
                      <a:pt x="17027" y="11178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90" name="Shape 1425">
                <a:extLst>
                  <a:ext uri="{FF2B5EF4-FFF2-40B4-BE49-F238E27FC236}">
                    <a16:creationId xmlns:a16="http://schemas.microsoft.com/office/drawing/2014/main" id="{6BD0B507-1A55-4A83-9AE7-174EEE8D5819}"/>
                  </a:ext>
                </a:extLst>
              </p:cNvPr>
              <p:cNvSpPr/>
              <p:nvPr/>
            </p:nvSpPr>
            <p:spPr>
              <a:xfrm>
                <a:off x="9043891" y="3327216"/>
                <a:ext cx="963838" cy="498384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02711" y="92459"/>
                    </a:moveTo>
                    <a:lnTo>
                      <a:pt x="105254" y="89508"/>
                    </a:lnTo>
                    <a:lnTo>
                      <a:pt x="106779" y="87540"/>
                    </a:lnTo>
                    <a:lnTo>
                      <a:pt x="108813" y="86557"/>
                    </a:lnTo>
                    <a:lnTo>
                      <a:pt x="110338" y="77704"/>
                    </a:lnTo>
                    <a:lnTo>
                      <a:pt x="111864" y="72786"/>
                    </a:lnTo>
                    <a:lnTo>
                      <a:pt x="117457" y="68852"/>
                    </a:lnTo>
                    <a:lnTo>
                      <a:pt x="119491" y="62950"/>
                    </a:lnTo>
                    <a:lnTo>
                      <a:pt x="120000" y="59016"/>
                    </a:lnTo>
                    <a:lnTo>
                      <a:pt x="117966" y="53114"/>
                    </a:lnTo>
                    <a:lnTo>
                      <a:pt x="115423" y="48196"/>
                    </a:lnTo>
                    <a:lnTo>
                      <a:pt x="112881" y="41311"/>
                    </a:lnTo>
                    <a:lnTo>
                      <a:pt x="111864" y="35409"/>
                    </a:lnTo>
                    <a:lnTo>
                      <a:pt x="110338" y="22622"/>
                    </a:lnTo>
                    <a:lnTo>
                      <a:pt x="110847" y="21639"/>
                    </a:lnTo>
                    <a:lnTo>
                      <a:pt x="109322" y="21639"/>
                    </a:lnTo>
                    <a:lnTo>
                      <a:pt x="107288" y="17704"/>
                    </a:lnTo>
                    <a:lnTo>
                      <a:pt x="105254" y="12786"/>
                    </a:lnTo>
                    <a:lnTo>
                      <a:pt x="103728" y="9836"/>
                    </a:lnTo>
                    <a:lnTo>
                      <a:pt x="103220" y="10819"/>
                    </a:lnTo>
                    <a:lnTo>
                      <a:pt x="102203" y="11803"/>
                    </a:lnTo>
                    <a:lnTo>
                      <a:pt x="101186" y="14754"/>
                    </a:lnTo>
                    <a:lnTo>
                      <a:pt x="100677" y="15737"/>
                    </a:lnTo>
                    <a:lnTo>
                      <a:pt x="97627" y="16721"/>
                    </a:lnTo>
                    <a:lnTo>
                      <a:pt x="95084" y="14754"/>
                    </a:lnTo>
                    <a:lnTo>
                      <a:pt x="93559" y="12786"/>
                    </a:lnTo>
                    <a:lnTo>
                      <a:pt x="93050" y="13770"/>
                    </a:lnTo>
                    <a:lnTo>
                      <a:pt x="92033" y="15737"/>
                    </a:lnTo>
                    <a:lnTo>
                      <a:pt x="92033" y="16721"/>
                    </a:lnTo>
                    <a:lnTo>
                      <a:pt x="90508" y="17704"/>
                    </a:lnTo>
                    <a:lnTo>
                      <a:pt x="89491" y="15737"/>
                    </a:lnTo>
                    <a:lnTo>
                      <a:pt x="88474" y="14754"/>
                    </a:lnTo>
                    <a:lnTo>
                      <a:pt x="86949" y="13770"/>
                    </a:lnTo>
                    <a:lnTo>
                      <a:pt x="84406" y="12786"/>
                    </a:lnTo>
                    <a:lnTo>
                      <a:pt x="83898" y="10819"/>
                    </a:lnTo>
                    <a:lnTo>
                      <a:pt x="82881" y="6885"/>
                    </a:lnTo>
                    <a:lnTo>
                      <a:pt x="80847" y="3934"/>
                    </a:lnTo>
                    <a:lnTo>
                      <a:pt x="78305" y="0"/>
                    </a:lnTo>
                    <a:lnTo>
                      <a:pt x="77796" y="983"/>
                    </a:lnTo>
                    <a:lnTo>
                      <a:pt x="75254" y="2950"/>
                    </a:lnTo>
                    <a:lnTo>
                      <a:pt x="72711" y="983"/>
                    </a:lnTo>
                    <a:lnTo>
                      <a:pt x="71694" y="1967"/>
                    </a:lnTo>
                    <a:lnTo>
                      <a:pt x="72203" y="5901"/>
                    </a:lnTo>
                    <a:lnTo>
                      <a:pt x="73220" y="6885"/>
                    </a:lnTo>
                    <a:lnTo>
                      <a:pt x="72711" y="8852"/>
                    </a:lnTo>
                    <a:lnTo>
                      <a:pt x="73220" y="14754"/>
                    </a:lnTo>
                    <a:lnTo>
                      <a:pt x="72203" y="16721"/>
                    </a:lnTo>
                    <a:lnTo>
                      <a:pt x="70169" y="16721"/>
                    </a:lnTo>
                    <a:lnTo>
                      <a:pt x="68135" y="18688"/>
                    </a:lnTo>
                    <a:lnTo>
                      <a:pt x="64067" y="19672"/>
                    </a:lnTo>
                    <a:lnTo>
                      <a:pt x="63559" y="20655"/>
                    </a:lnTo>
                    <a:lnTo>
                      <a:pt x="63559" y="22622"/>
                    </a:lnTo>
                    <a:lnTo>
                      <a:pt x="63050" y="24590"/>
                    </a:lnTo>
                    <a:lnTo>
                      <a:pt x="63050" y="28524"/>
                    </a:lnTo>
                    <a:lnTo>
                      <a:pt x="62033" y="32459"/>
                    </a:lnTo>
                    <a:lnTo>
                      <a:pt x="61016" y="36393"/>
                    </a:lnTo>
                    <a:lnTo>
                      <a:pt x="60000" y="38360"/>
                    </a:lnTo>
                    <a:lnTo>
                      <a:pt x="58474" y="38360"/>
                    </a:lnTo>
                    <a:lnTo>
                      <a:pt x="56949" y="43278"/>
                    </a:lnTo>
                    <a:lnTo>
                      <a:pt x="56949" y="46229"/>
                    </a:lnTo>
                    <a:lnTo>
                      <a:pt x="55932" y="50163"/>
                    </a:lnTo>
                    <a:lnTo>
                      <a:pt x="52881" y="51147"/>
                    </a:lnTo>
                    <a:lnTo>
                      <a:pt x="52372" y="50163"/>
                    </a:lnTo>
                    <a:lnTo>
                      <a:pt x="50847" y="47213"/>
                    </a:lnTo>
                    <a:lnTo>
                      <a:pt x="50338" y="43278"/>
                    </a:lnTo>
                    <a:lnTo>
                      <a:pt x="49322" y="43278"/>
                    </a:lnTo>
                    <a:lnTo>
                      <a:pt x="48813" y="47213"/>
                    </a:lnTo>
                    <a:lnTo>
                      <a:pt x="47288" y="50163"/>
                    </a:lnTo>
                    <a:lnTo>
                      <a:pt x="47288" y="54098"/>
                    </a:lnTo>
                    <a:lnTo>
                      <a:pt x="46779" y="57049"/>
                    </a:lnTo>
                    <a:lnTo>
                      <a:pt x="44745" y="56065"/>
                    </a:lnTo>
                    <a:lnTo>
                      <a:pt x="43728" y="54098"/>
                    </a:lnTo>
                    <a:lnTo>
                      <a:pt x="41694" y="54098"/>
                    </a:lnTo>
                    <a:lnTo>
                      <a:pt x="40677" y="55081"/>
                    </a:lnTo>
                    <a:lnTo>
                      <a:pt x="38644" y="56065"/>
                    </a:lnTo>
                    <a:lnTo>
                      <a:pt x="38644" y="60000"/>
                    </a:lnTo>
                    <a:lnTo>
                      <a:pt x="38135" y="60983"/>
                    </a:lnTo>
                    <a:lnTo>
                      <a:pt x="36101" y="59016"/>
                    </a:lnTo>
                    <a:lnTo>
                      <a:pt x="34576" y="56065"/>
                    </a:lnTo>
                    <a:lnTo>
                      <a:pt x="32033" y="56065"/>
                    </a:lnTo>
                    <a:lnTo>
                      <a:pt x="30508" y="56065"/>
                    </a:lnTo>
                    <a:lnTo>
                      <a:pt x="28983" y="60000"/>
                    </a:lnTo>
                    <a:lnTo>
                      <a:pt x="24915" y="60000"/>
                    </a:lnTo>
                    <a:lnTo>
                      <a:pt x="24915" y="64918"/>
                    </a:lnTo>
                    <a:lnTo>
                      <a:pt x="23389" y="64918"/>
                    </a:lnTo>
                    <a:lnTo>
                      <a:pt x="21864" y="65901"/>
                    </a:lnTo>
                    <a:lnTo>
                      <a:pt x="21864" y="69836"/>
                    </a:lnTo>
                    <a:lnTo>
                      <a:pt x="21864" y="70819"/>
                    </a:lnTo>
                    <a:lnTo>
                      <a:pt x="21864" y="73770"/>
                    </a:lnTo>
                    <a:lnTo>
                      <a:pt x="22372" y="76721"/>
                    </a:lnTo>
                    <a:lnTo>
                      <a:pt x="21355" y="77704"/>
                    </a:lnTo>
                    <a:lnTo>
                      <a:pt x="18305" y="79672"/>
                    </a:lnTo>
                    <a:lnTo>
                      <a:pt x="16779" y="81639"/>
                    </a:lnTo>
                    <a:lnTo>
                      <a:pt x="16779" y="86557"/>
                    </a:lnTo>
                    <a:lnTo>
                      <a:pt x="17796" y="91475"/>
                    </a:lnTo>
                    <a:lnTo>
                      <a:pt x="16779" y="92459"/>
                    </a:lnTo>
                    <a:lnTo>
                      <a:pt x="15254" y="92459"/>
                    </a:lnTo>
                    <a:lnTo>
                      <a:pt x="13728" y="92459"/>
                    </a:lnTo>
                    <a:lnTo>
                      <a:pt x="11694" y="89508"/>
                    </a:lnTo>
                    <a:lnTo>
                      <a:pt x="9661" y="87540"/>
                    </a:lnTo>
                    <a:lnTo>
                      <a:pt x="8644" y="88524"/>
                    </a:lnTo>
                    <a:lnTo>
                      <a:pt x="7118" y="91475"/>
                    </a:lnTo>
                    <a:lnTo>
                      <a:pt x="5593" y="92459"/>
                    </a:lnTo>
                    <a:lnTo>
                      <a:pt x="5084" y="95409"/>
                    </a:lnTo>
                    <a:lnTo>
                      <a:pt x="5084" y="98360"/>
                    </a:lnTo>
                    <a:lnTo>
                      <a:pt x="7118" y="100327"/>
                    </a:lnTo>
                    <a:lnTo>
                      <a:pt x="7118" y="102295"/>
                    </a:lnTo>
                    <a:lnTo>
                      <a:pt x="7118" y="105245"/>
                    </a:lnTo>
                    <a:lnTo>
                      <a:pt x="7118" y="110163"/>
                    </a:lnTo>
                    <a:lnTo>
                      <a:pt x="6101" y="113114"/>
                    </a:lnTo>
                    <a:lnTo>
                      <a:pt x="5084" y="114098"/>
                    </a:lnTo>
                    <a:lnTo>
                      <a:pt x="3559" y="114098"/>
                    </a:lnTo>
                    <a:lnTo>
                      <a:pt x="2542" y="115081"/>
                    </a:lnTo>
                    <a:lnTo>
                      <a:pt x="2542" y="115081"/>
                    </a:lnTo>
                    <a:lnTo>
                      <a:pt x="2033" y="115081"/>
                    </a:lnTo>
                    <a:lnTo>
                      <a:pt x="0" y="115081"/>
                    </a:lnTo>
                    <a:lnTo>
                      <a:pt x="0" y="116065"/>
                    </a:lnTo>
                    <a:lnTo>
                      <a:pt x="0" y="119016"/>
                    </a:lnTo>
                    <a:lnTo>
                      <a:pt x="0" y="120000"/>
                    </a:lnTo>
                    <a:lnTo>
                      <a:pt x="1016" y="119016"/>
                    </a:lnTo>
                    <a:lnTo>
                      <a:pt x="26440" y="118032"/>
                    </a:lnTo>
                    <a:lnTo>
                      <a:pt x="25423" y="109180"/>
                    </a:lnTo>
                    <a:lnTo>
                      <a:pt x="72711" y="103278"/>
                    </a:lnTo>
                    <a:lnTo>
                      <a:pt x="97627" y="98360"/>
                    </a:lnTo>
                    <a:lnTo>
                      <a:pt x="100677" y="95409"/>
                    </a:lnTo>
                    <a:lnTo>
                      <a:pt x="102711" y="92459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91" name="Shape 1426">
                <a:extLst>
                  <a:ext uri="{FF2B5EF4-FFF2-40B4-BE49-F238E27FC236}">
                    <a16:creationId xmlns:a16="http://schemas.microsoft.com/office/drawing/2014/main" id="{95E71E1E-F743-402D-A10D-5E4E6B827B7C}"/>
                  </a:ext>
                </a:extLst>
              </p:cNvPr>
              <p:cNvSpPr/>
              <p:nvPr/>
            </p:nvSpPr>
            <p:spPr>
              <a:xfrm>
                <a:off x="8222992" y="3151556"/>
                <a:ext cx="878073" cy="763918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12440" y="104796"/>
                    </a:moveTo>
                    <a:cubicBezTo>
                      <a:pt x="112440" y="103167"/>
                      <a:pt x="112440" y="103167"/>
                      <a:pt x="112440" y="103167"/>
                    </a:cubicBezTo>
                    <a:cubicBezTo>
                      <a:pt x="112440" y="102624"/>
                      <a:pt x="112440" y="102624"/>
                      <a:pt x="112440" y="102624"/>
                    </a:cubicBezTo>
                    <a:cubicBezTo>
                      <a:pt x="114330" y="102624"/>
                      <a:pt x="114330" y="102624"/>
                      <a:pt x="114330" y="102624"/>
                    </a:cubicBezTo>
                    <a:cubicBezTo>
                      <a:pt x="114803" y="102624"/>
                      <a:pt x="114803" y="102624"/>
                      <a:pt x="114803" y="102624"/>
                    </a:cubicBezTo>
                    <a:cubicBezTo>
                      <a:pt x="115275" y="102081"/>
                      <a:pt x="115275" y="102081"/>
                      <a:pt x="115275" y="102081"/>
                    </a:cubicBezTo>
                    <a:cubicBezTo>
                      <a:pt x="116220" y="101538"/>
                      <a:pt x="116220" y="101538"/>
                      <a:pt x="116220" y="101538"/>
                    </a:cubicBezTo>
                    <a:cubicBezTo>
                      <a:pt x="117637" y="101538"/>
                      <a:pt x="117637" y="101538"/>
                      <a:pt x="117637" y="101538"/>
                    </a:cubicBezTo>
                    <a:cubicBezTo>
                      <a:pt x="119055" y="100995"/>
                      <a:pt x="119055" y="100995"/>
                      <a:pt x="119055" y="100995"/>
                    </a:cubicBezTo>
                    <a:cubicBezTo>
                      <a:pt x="120000" y="99366"/>
                      <a:pt x="120000" y="99366"/>
                      <a:pt x="120000" y="99366"/>
                    </a:cubicBezTo>
                    <a:cubicBezTo>
                      <a:pt x="120000" y="96108"/>
                      <a:pt x="120000" y="96108"/>
                      <a:pt x="120000" y="96108"/>
                    </a:cubicBezTo>
                    <a:cubicBezTo>
                      <a:pt x="120000" y="93936"/>
                      <a:pt x="120000" y="93936"/>
                      <a:pt x="120000" y="93936"/>
                    </a:cubicBezTo>
                    <a:cubicBezTo>
                      <a:pt x="120000" y="92850"/>
                      <a:pt x="120000" y="92850"/>
                      <a:pt x="120000" y="92850"/>
                    </a:cubicBezTo>
                    <a:cubicBezTo>
                      <a:pt x="118110" y="91221"/>
                      <a:pt x="118110" y="91221"/>
                      <a:pt x="118110" y="91221"/>
                    </a:cubicBezTo>
                    <a:cubicBezTo>
                      <a:pt x="118110" y="89592"/>
                      <a:pt x="118110" y="89592"/>
                      <a:pt x="118110" y="89592"/>
                    </a:cubicBezTo>
                    <a:cubicBezTo>
                      <a:pt x="118582" y="87420"/>
                      <a:pt x="118582" y="87420"/>
                      <a:pt x="118582" y="87420"/>
                    </a:cubicBezTo>
                    <a:cubicBezTo>
                      <a:pt x="116220" y="87420"/>
                      <a:pt x="116220" y="87420"/>
                      <a:pt x="116220" y="87420"/>
                    </a:cubicBezTo>
                    <a:cubicBezTo>
                      <a:pt x="114803" y="90135"/>
                      <a:pt x="114803" y="90135"/>
                      <a:pt x="114803" y="90135"/>
                    </a:cubicBezTo>
                    <a:cubicBezTo>
                      <a:pt x="114803" y="87420"/>
                      <a:pt x="114803" y="87420"/>
                      <a:pt x="114803" y="87420"/>
                    </a:cubicBezTo>
                    <a:cubicBezTo>
                      <a:pt x="112440" y="84705"/>
                      <a:pt x="112440" y="84705"/>
                      <a:pt x="112440" y="84705"/>
                    </a:cubicBezTo>
                    <a:cubicBezTo>
                      <a:pt x="112913" y="82533"/>
                      <a:pt x="112913" y="82533"/>
                      <a:pt x="112913" y="82533"/>
                    </a:cubicBezTo>
                    <a:cubicBezTo>
                      <a:pt x="113385" y="79276"/>
                      <a:pt x="113385" y="79276"/>
                      <a:pt x="113385" y="79276"/>
                    </a:cubicBezTo>
                    <a:cubicBezTo>
                      <a:pt x="111496" y="73303"/>
                      <a:pt x="111496" y="73303"/>
                      <a:pt x="111496" y="73303"/>
                    </a:cubicBezTo>
                    <a:cubicBezTo>
                      <a:pt x="109606" y="71131"/>
                      <a:pt x="109606" y="71131"/>
                      <a:pt x="109606" y="71131"/>
                    </a:cubicBezTo>
                    <a:cubicBezTo>
                      <a:pt x="103464" y="66244"/>
                      <a:pt x="103464" y="66244"/>
                      <a:pt x="103464" y="66244"/>
                    </a:cubicBezTo>
                    <a:cubicBezTo>
                      <a:pt x="102047" y="67330"/>
                      <a:pt x="102047" y="67330"/>
                      <a:pt x="102047" y="67330"/>
                    </a:cubicBezTo>
                    <a:cubicBezTo>
                      <a:pt x="98267" y="64072"/>
                      <a:pt x="98267" y="64072"/>
                      <a:pt x="98267" y="64072"/>
                    </a:cubicBezTo>
                    <a:cubicBezTo>
                      <a:pt x="95433" y="60814"/>
                      <a:pt x="95433" y="60814"/>
                      <a:pt x="95433" y="60814"/>
                    </a:cubicBezTo>
                    <a:cubicBezTo>
                      <a:pt x="95433" y="57556"/>
                      <a:pt x="95433" y="57556"/>
                      <a:pt x="95433" y="57556"/>
                    </a:cubicBezTo>
                    <a:cubicBezTo>
                      <a:pt x="96377" y="54298"/>
                      <a:pt x="96377" y="54298"/>
                      <a:pt x="96377" y="54298"/>
                    </a:cubicBezTo>
                    <a:cubicBezTo>
                      <a:pt x="96850" y="52126"/>
                      <a:pt x="96850" y="52126"/>
                      <a:pt x="96850" y="52126"/>
                    </a:cubicBezTo>
                    <a:cubicBezTo>
                      <a:pt x="97322" y="49411"/>
                      <a:pt x="97322" y="49411"/>
                      <a:pt x="97322" y="49411"/>
                    </a:cubicBezTo>
                    <a:cubicBezTo>
                      <a:pt x="98740" y="45610"/>
                      <a:pt x="98740" y="45610"/>
                      <a:pt x="98740" y="45610"/>
                    </a:cubicBezTo>
                    <a:cubicBezTo>
                      <a:pt x="97322" y="43438"/>
                      <a:pt x="97322" y="43438"/>
                      <a:pt x="97322" y="43438"/>
                    </a:cubicBezTo>
                    <a:cubicBezTo>
                      <a:pt x="95433" y="41266"/>
                      <a:pt x="95433" y="41266"/>
                      <a:pt x="95433" y="41266"/>
                    </a:cubicBezTo>
                    <a:cubicBezTo>
                      <a:pt x="92598" y="41266"/>
                      <a:pt x="92598" y="41266"/>
                      <a:pt x="92598" y="41266"/>
                    </a:cubicBezTo>
                    <a:cubicBezTo>
                      <a:pt x="91181" y="42352"/>
                      <a:pt x="91181" y="42352"/>
                      <a:pt x="91181" y="42352"/>
                    </a:cubicBezTo>
                    <a:cubicBezTo>
                      <a:pt x="90236" y="43981"/>
                      <a:pt x="90236" y="43981"/>
                      <a:pt x="90236" y="43981"/>
                    </a:cubicBezTo>
                    <a:cubicBezTo>
                      <a:pt x="87874" y="41266"/>
                      <a:pt x="87874" y="41266"/>
                      <a:pt x="87874" y="41266"/>
                    </a:cubicBezTo>
                    <a:cubicBezTo>
                      <a:pt x="87874" y="36380"/>
                      <a:pt x="87874" y="36380"/>
                      <a:pt x="87874" y="36380"/>
                    </a:cubicBezTo>
                    <a:cubicBezTo>
                      <a:pt x="85511" y="32579"/>
                      <a:pt x="85511" y="32579"/>
                      <a:pt x="85511" y="32579"/>
                    </a:cubicBezTo>
                    <a:cubicBezTo>
                      <a:pt x="77007" y="24434"/>
                      <a:pt x="77007" y="24434"/>
                      <a:pt x="77007" y="24434"/>
                    </a:cubicBezTo>
                    <a:cubicBezTo>
                      <a:pt x="73700" y="17918"/>
                      <a:pt x="73700" y="17918"/>
                      <a:pt x="73700" y="17918"/>
                    </a:cubicBezTo>
                    <a:cubicBezTo>
                      <a:pt x="73700" y="11945"/>
                      <a:pt x="73700" y="11945"/>
                      <a:pt x="73700" y="11945"/>
                    </a:cubicBezTo>
                    <a:cubicBezTo>
                      <a:pt x="73700" y="5972"/>
                      <a:pt x="73700" y="5972"/>
                      <a:pt x="73700" y="5972"/>
                    </a:cubicBezTo>
                    <a:cubicBezTo>
                      <a:pt x="74645" y="5429"/>
                      <a:pt x="74645" y="5429"/>
                      <a:pt x="74645" y="5429"/>
                    </a:cubicBezTo>
                    <a:cubicBezTo>
                      <a:pt x="68976" y="0"/>
                      <a:pt x="68976" y="0"/>
                      <a:pt x="68976" y="0"/>
                    </a:cubicBezTo>
                    <a:cubicBezTo>
                      <a:pt x="0" y="1085"/>
                      <a:pt x="0" y="1085"/>
                      <a:pt x="0" y="1085"/>
                    </a:cubicBezTo>
                    <a:cubicBezTo>
                      <a:pt x="472" y="2171"/>
                      <a:pt x="472" y="2171"/>
                      <a:pt x="472" y="2171"/>
                    </a:cubicBezTo>
                    <a:cubicBezTo>
                      <a:pt x="1889" y="3257"/>
                      <a:pt x="1889" y="3257"/>
                      <a:pt x="1889" y="3257"/>
                    </a:cubicBezTo>
                    <a:cubicBezTo>
                      <a:pt x="2362" y="5972"/>
                      <a:pt x="2362" y="5972"/>
                      <a:pt x="2362" y="5972"/>
                    </a:cubicBezTo>
                    <a:cubicBezTo>
                      <a:pt x="1417" y="7058"/>
                      <a:pt x="1417" y="7058"/>
                      <a:pt x="1417" y="7058"/>
                    </a:cubicBezTo>
                    <a:cubicBezTo>
                      <a:pt x="2362" y="8687"/>
                      <a:pt x="2362" y="8687"/>
                      <a:pt x="2362" y="8687"/>
                    </a:cubicBezTo>
                    <a:cubicBezTo>
                      <a:pt x="2362" y="8687"/>
                      <a:pt x="1889" y="8687"/>
                      <a:pt x="2362" y="9230"/>
                    </a:cubicBezTo>
                    <a:cubicBezTo>
                      <a:pt x="2834" y="9773"/>
                      <a:pt x="5196" y="10316"/>
                      <a:pt x="5196" y="10316"/>
                    </a:cubicBezTo>
                    <a:cubicBezTo>
                      <a:pt x="5669" y="13574"/>
                      <a:pt x="5669" y="13574"/>
                      <a:pt x="5669" y="13574"/>
                    </a:cubicBezTo>
                    <a:cubicBezTo>
                      <a:pt x="6614" y="15746"/>
                      <a:pt x="6614" y="15746"/>
                      <a:pt x="6614" y="15746"/>
                    </a:cubicBezTo>
                    <a:cubicBezTo>
                      <a:pt x="6614" y="15746"/>
                      <a:pt x="6614" y="15746"/>
                      <a:pt x="6614" y="15746"/>
                    </a:cubicBezTo>
                    <a:cubicBezTo>
                      <a:pt x="8503" y="19004"/>
                      <a:pt x="8503" y="19004"/>
                      <a:pt x="8503" y="19004"/>
                    </a:cubicBezTo>
                    <a:cubicBezTo>
                      <a:pt x="9448" y="21176"/>
                      <a:pt x="9448" y="21176"/>
                      <a:pt x="9448" y="21176"/>
                    </a:cubicBezTo>
                    <a:cubicBezTo>
                      <a:pt x="13700" y="21176"/>
                      <a:pt x="13700" y="21176"/>
                      <a:pt x="13700" y="21176"/>
                    </a:cubicBezTo>
                    <a:cubicBezTo>
                      <a:pt x="14645" y="21176"/>
                      <a:pt x="14645" y="21176"/>
                      <a:pt x="14645" y="21176"/>
                    </a:cubicBezTo>
                    <a:cubicBezTo>
                      <a:pt x="14645" y="23891"/>
                      <a:pt x="14645" y="23891"/>
                      <a:pt x="14645" y="23891"/>
                    </a:cubicBezTo>
                    <a:cubicBezTo>
                      <a:pt x="13228" y="27149"/>
                      <a:pt x="13228" y="27149"/>
                      <a:pt x="13228" y="27149"/>
                    </a:cubicBezTo>
                    <a:cubicBezTo>
                      <a:pt x="11811" y="29864"/>
                      <a:pt x="11811" y="29864"/>
                      <a:pt x="11811" y="29864"/>
                    </a:cubicBezTo>
                    <a:cubicBezTo>
                      <a:pt x="14645" y="33122"/>
                      <a:pt x="14645" y="33122"/>
                      <a:pt x="14645" y="33122"/>
                    </a:cubicBezTo>
                    <a:cubicBezTo>
                      <a:pt x="15590" y="36380"/>
                      <a:pt x="15590" y="36380"/>
                      <a:pt x="15590" y="36380"/>
                    </a:cubicBezTo>
                    <a:cubicBezTo>
                      <a:pt x="17007" y="37466"/>
                      <a:pt x="17007" y="37466"/>
                      <a:pt x="17007" y="37466"/>
                    </a:cubicBezTo>
                    <a:cubicBezTo>
                      <a:pt x="19842" y="39095"/>
                      <a:pt x="19842" y="39095"/>
                      <a:pt x="19842" y="39095"/>
                    </a:cubicBezTo>
                    <a:cubicBezTo>
                      <a:pt x="19842" y="95565"/>
                      <a:pt x="19842" y="95565"/>
                      <a:pt x="19842" y="95565"/>
                    </a:cubicBezTo>
                    <a:cubicBezTo>
                      <a:pt x="19842" y="109140"/>
                      <a:pt x="19842" y="109140"/>
                      <a:pt x="19842" y="109140"/>
                    </a:cubicBezTo>
                    <a:cubicBezTo>
                      <a:pt x="101574" y="106968"/>
                      <a:pt x="101574" y="106968"/>
                      <a:pt x="101574" y="106968"/>
                    </a:cubicBezTo>
                    <a:cubicBezTo>
                      <a:pt x="102047" y="110226"/>
                      <a:pt x="102047" y="110226"/>
                      <a:pt x="102047" y="110226"/>
                    </a:cubicBezTo>
                    <a:cubicBezTo>
                      <a:pt x="96850" y="120000"/>
                      <a:pt x="96850" y="120000"/>
                      <a:pt x="96850" y="120000"/>
                    </a:cubicBezTo>
                    <a:cubicBezTo>
                      <a:pt x="110078" y="118914"/>
                      <a:pt x="110078" y="118914"/>
                      <a:pt x="110078" y="118914"/>
                    </a:cubicBezTo>
                    <a:cubicBezTo>
                      <a:pt x="110551" y="117285"/>
                      <a:pt x="110551" y="117285"/>
                      <a:pt x="110551" y="117285"/>
                    </a:cubicBezTo>
                    <a:cubicBezTo>
                      <a:pt x="111496" y="115656"/>
                      <a:pt x="111496" y="115656"/>
                      <a:pt x="111496" y="115656"/>
                    </a:cubicBezTo>
                    <a:cubicBezTo>
                      <a:pt x="111496" y="115656"/>
                      <a:pt x="112440" y="115113"/>
                      <a:pt x="111968" y="114570"/>
                    </a:cubicBezTo>
                    <a:cubicBezTo>
                      <a:pt x="111968" y="114027"/>
                      <a:pt x="111023" y="112398"/>
                      <a:pt x="111023" y="112398"/>
                    </a:cubicBezTo>
                    <a:cubicBezTo>
                      <a:pt x="110551" y="111855"/>
                      <a:pt x="110551" y="111855"/>
                      <a:pt x="110551" y="111855"/>
                    </a:cubicBezTo>
                    <a:cubicBezTo>
                      <a:pt x="111023" y="110769"/>
                      <a:pt x="111023" y="110769"/>
                      <a:pt x="111023" y="110769"/>
                    </a:cubicBezTo>
                    <a:cubicBezTo>
                      <a:pt x="111968" y="110226"/>
                      <a:pt x="111968" y="110226"/>
                      <a:pt x="111968" y="110226"/>
                    </a:cubicBezTo>
                    <a:cubicBezTo>
                      <a:pt x="112440" y="108597"/>
                      <a:pt x="112440" y="108597"/>
                      <a:pt x="112440" y="108597"/>
                    </a:cubicBezTo>
                    <a:cubicBezTo>
                      <a:pt x="112440" y="106968"/>
                      <a:pt x="112440" y="106968"/>
                      <a:pt x="112440" y="106968"/>
                    </a:cubicBezTo>
                    <a:cubicBezTo>
                      <a:pt x="112440" y="105339"/>
                      <a:pt x="112440" y="105339"/>
                      <a:pt x="112440" y="105339"/>
                    </a:cubicBezTo>
                    <a:lnTo>
                      <a:pt x="112440" y="104796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92" name="Shape 1427">
                <a:extLst>
                  <a:ext uri="{FF2B5EF4-FFF2-40B4-BE49-F238E27FC236}">
                    <a16:creationId xmlns:a16="http://schemas.microsoft.com/office/drawing/2014/main" id="{8E51FC3E-13EB-4B77-8CE9-631CAB5D8381}"/>
                  </a:ext>
                </a:extLst>
              </p:cNvPr>
              <p:cNvSpPr/>
              <p:nvPr/>
            </p:nvSpPr>
            <p:spPr>
              <a:xfrm>
                <a:off x="8067797" y="1684993"/>
                <a:ext cx="849487" cy="988599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73846" y="69917"/>
                    </a:moveTo>
                    <a:lnTo>
                      <a:pt x="80192" y="66942"/>
                    </a:lnTo>
                    <a:lnTo>
                      <a:pt x="80192" y="55041"/>
                    </a:lnTo>
                    <a:lnTo>
                      <a:pt x="83076" y="53057"/>
                    </a:lnTo>
                    <a:lnTo>
                      <a:pt x="92884" y="45123"/>
                    </a:lnTo>
                    <a:lnTo>
                      <a:pt x="97500" y="39669"/>
                    </a:lnTo>
                    <a:lnTo>
                      <a:pt x="106730" y="34214"/>
                    </a:lnTo>
                    <a:lnTo>
                      <a:pt x="120000" y="27272"/>
                    </a:lnTo>
                    <a:lnTo>
                      <a:pt x="115384" y="26280"/>
                    </a:lnTo>
                    <a:lnTo>
                      <a:pt x="105576" y="25785"/>
                    </a:lnTo>
                    <a:lnTo>
                      <a:pt x="97500" y="24297"/>
                    </a:lnTo>
                    <a:lnTo>
                      <a:pt x="95769" y="25785"/>
                    </a:lnTo>
                    <a:lnTo>
                      <a:pt x="93461" y="27272"/>
                    </a:lnTo>
                    <a:lnTo>
                      <a:pt x="88846" y="27272"/>
                    </a:lnTo>
                    <a:lnTo>
                      <a:pt x="87115" y="25289"/>
                    </a:lnTo>
                    <a:lnTo>
                      <a:pt x="84807" y="23801"/>
                    </a:lnTo>
                    <a:lnTo>
                      <a:pt x="78461" y="22314"/>
                    </a:lnTo>
                    <a:lnTo>
                      <a:pt x="76730" y="22314"/>
                    </a:lnTo>
                    <a:lnTo>
                      <a:pt x="74423" y="21322"/>
                    </a:lnTo>
                    <a:lnTo>
                      <a:pt x="73846" y="20826"/>
                    </a:lnTo>
                    <a:lnTo>
                      <a:pt x="68653" y="20330"/>
                    </a:lnTo>
                    <a:lnTo>
                      <a:pt x="65769" y="17851"/>
                    </a:lnTo>
                    <a:lnTo>
                      <a:pt x="69230" y="19338"/>
                    </a:lnTo>
                    <a:lnTo>
                      <a:pt x="70961" y="17851"/>
                    </a:lnTo>
                    <a:lnTo>
                      <a:pt x="68653" y="17355"/>
                    </a:lnTo>
                    <a:lnTo>
                      <a:pt x="65769" y="17355"/>
                    </a:lnTo>
                    <a:lnTo>
                      <a:pt x="62884" y="17355"/>
                    </a:lnTo>
                    <a:lnTo>
                      <a:pt x="60576" y="17355"/>
                    </a:lnTo>
                    <a:lnTo>
                      <a:pt x="57692" y="17355"/>
                    </a:lnTo>
                    <a:lnTo>
                      <a:pt x="55961" y="19338"/>
                    </a:lnTo>
                    <a:lnTo>
                      <a:pt x="53653" y="19338"/>
                    </a:lnTo>
                    <a:lnTo>
                      <a:pt x="50192" y="16859"/>
                    </a:lnTo>
                    <a:lnTo>
                      <a:pt x="48461" y="16859"/>
                    </a:lnTo>
                    <a:lnTo>
                      <a:pt x="46153" y="16859"/>
                    </a:lnTo>
                    <a:lnTo>
                      <a:pt x="42115" y="15867"/>
                    </a:lnTo>
                    <a:lnTo>
                      <a:pt x="39230" y="11900"/>
                    </a:lnTo>
                    <a:lnTo>
                      <a:pt x="39230" y="11900"/>
                    </a:lnTo>
                    <a:lnTo>
                      <a:pt x="38076" y="9917"/>
                    </a:lnTo>
                    <a:lnTo>
                      <a:pt x="35769" y="9917"/>
                    </a:lnTo>
                    <a:lnTo>
                      <a:pt x="33461" y="9917"/>
                    </a:lnTo>
                    <a:lnTo>
                      <a:pt x="31730" y="9917"/>
                    </a:lnTo>
                    <a:lnTo>
                      <a:pt x="31153" y="7933"/>
                    </a:lnTo>
                    <a:lnTo>
                      <a:pt x="32884" y="5950"/>
                    </a:lnTo>
                    <a:lnTo>
                      <a:pt x="33461" y="3966"/>
                    </a:lnTo>
                    <a:lnTo>
                      <a:pt x="35769" y="2479"/>
                    </a:lnTo>
                    <a:lnTo>
                      <a:pt x="34615" y="991"/>
                    </a:lnTo>
                    <a:lnTo>
                      <a:pt x="34615" y="991"/>
                    </a:lnTo>
                    <a:lnTo>
                      <a:pt x="32307" y="0"/>
                    </a:lnTo>
                    <a:lnTo>
                      <a:pt x="32307" y="4958"/>
                    </a:lnTo>
                    <a:lnTo>
                      <a:pt x="31153" y="5950"/>
                    </a:lnTo>
                    <a:lnTo>
                      <a:pt x="30000" y="7933"/>
                    </a:lnTo>
                    <a:lnTo>
                      <a:pt x="0" y="7933"/>
                    </a:lnTo>
                    <a:lnTo>
                      <a:pt x="576" y="9917"/>
                    </a:lnTo>
                    <a:lnTo>
                      <a:pt x="576" y="11404"/>
                    </a:lnTo>
                    <a:lnTo>
                      <a:pt x="576" y="11900"/>
                    </a:lnTo>
                    <a:lnTo>
                      <a:pt x="2307" y="12892"/>
                    </a:lnTo>
                    <a:lnTo>
                      <a:pt x="2307" y="14876"/>
                    </a:lnTo>
                    <a:lnTo>
                      <a:pt x="1730" y="15371"/>
                    </a:lnTo>
                    <a:lnTo>
                      <a:pt x="576" y="16363"/>
                    </a:lnTo>
                    <a:lnTo>
                      <a:pt x="576" y="16859"/>
                    </a:lnTo>
                    <a:lnTo>
                      <a:pt x="576" y="18842"/>
                    </a:lnTo>
                    <a:lnTo>
                      <a:pt x="1153" y="19834"/>
                    </a:lnTo>
                    <a:lnTo>
                      <a:pt x="1730" y="22314"/>
                    </a:lnTo>
                    <a:lnTo>
                      <a:pt x="576" y="25289"/>
                    </a:lnTo>
                    <a:lnTo>
                      <a:pt x="1730" y="27768"/>
                    </a:lnTo>
                    <a:lnTo>
                      <a:pt x="3461" y="31735"/>
                    </a:lnTo>
                    <a:lnTo>
                      <a:pt x="5192" y="34710"/>
                    </a:lnTo>
                    <a:lnTo>
                      <a:pt x="5192" y="38677"/>
                    </a:lnTo>
                    <a:lnTo>
                      <a:pt x="5769" y="45619"/>
                    </a:lnTo>
                    <a:lnTo>
                      <a:pt x="5769" y="51570"/>
                    </a:lnTo>
                    <a:lnTo>
                      <a:pt x="5769" y="55537"/>
                    </a:lnTo>
                    <a:lnTo>
                      <a:pt x="6923" y="56528"/>
                    </a:lnTo>
                    <a:lnTo>
                      <a:pt x="6923" y="57520"/>
                    </a:lnTo>
                    <a:lnTo>
                      <a:pt x="6923" y="60495"/>
                    </a:lnTo>
                    <a:lnTo>
                      <a:pt x="8653" y="61487"/>
                    </a:lnTo>
                    <a:lnTo>
                      <a:pt x="9807" y="62975"/>
                    </a:lnTo>
                    <a:lnTo>
                      <a:pt x="10384" y="65454"/>
                    </a:lnTo>
                    <a:lnTo>
                      <a:pt x="10384" y="67438"/>
                    </a:lnTo>
                    <a:lnTo>
                      <a:pt x="10384" y="69917"/>
                    </a:lnTo>
                    <a:lnTo>
                      <a:pt x="9230" y="70413"/>
                    </a:lnTo>
                    <a:lnTo>
                      <a:pt x="9230" y="70413"/>
                    </a:lnTo>
                    <a:lnTo>
                      <a:pt x="9807" y="71404"/>
                    </a:lnTo>
                    <a:lnTo>
                      <a:pt x="7500" y="72892"/>
                    </a:lnTo>
                    <a:lnTo>
                      <a:pt x="6346" y="74380"/>
                    </a:lnTo>
                    <a:lnTo>
                      <a:pt x="4615" y="75371"/>
                    </a:lnTo>
                    <a:lnTo>
                      <a:pt x="4615" y="76363"/>
                    </a:lnTo>
                    <a:lnTo>
                      <a:pt x="4615" y="77355"/>
                    </a:lnTo>
                    <a:lnTo>
                      <a:pt x="5192" y="78347"/>
                    </a:lnTo>
                    <a:lnTo>
                      <a:pt x="6923" y="79338"/>
                    </a:lnTo>
                    <a:lnTo>
                      <a:pt x="6923" y="80826"/>
                    </a:lnTo>
                    <a:lnTo>
                      <a:pt x="9807" y="81322"/>
                    </a:lnTo>
                    <a:lnTo>
                      <a:pt x="10384" y="82809"/>
                    </a:lnTo>
                    <a:lnTo>
                      <a:pt x="12115" y="83801"/>
                    </a:lnTo>
                    <a:lnTo>
                      <a:pt x="10384" y="120000"/>
                    </a:lnTo>
                    <a:lnTo>
                      <a:pt x="99230" y="118512"/>
                    </a:lnTo>
                    <a:lnTo>
                      <a:pt x="99807" y="115537"/>
                    </a:lnTo>
                    <a:lnTo>
                      <a:pt x="99230" y="112561"/>
                    </a:lnTo>
                    <a:lnTo>
                      <a:pt x="95769" y="109090"/>
                    </a:lnTo>
                    <a:lnTo>
                      <a:pt x="92307" y="107107"/>
                    </a:lnTo>
                    <a:lnTo>
                      <a:pt x="90576" y="105619"/>
                    </a:lnTo>
                    <a:lnTo>
                      <a:pt x="86538" y="101157"/>
                    </a:lnTo>
                    <a:lnTo>
                      <a:pt x="79615" y="97685"/>
                    </a:lnTo>
                    <a:lnTo>
                      <a:pt x="75000" y="95702"/>
                    </a:lnTo>
                    <a:lnTo>
                      <a:pt x="72115" y="93719"/>
                    </a:lnTo>
                    <a:lnTo>
                      <a:pt x="72692" y="86280"/>
                    </a:lnTo>
                    <a:lnTo>
                      <a:pt x="73846" y="78842"/>
                    </a:lnTo>
                    <a:lnTo>
                      <a:pt x="72692" y="78842"/>
                    </a:lnTo>
                    <a:lnTo>
                      <a:pt x="70384" y="76363"/>
                    </a:lnTo>
                    <a:lnTo>
                      <a:pt x="72692" y="71900"/>
                    </a:lnTo>
                    <a:lnTo>
                      <a:pt x="73846" y="69917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cxnSp>
            <p:nvCxnSpPr>
              <p:cNvPr id="193" name="Shape 1428">
                <a:extLst>
                  <a:ext uri="{FF2B5EF4-FFF2-40B4-BE49-F238E27FC236}">
                    <a16:creationId xmlns:a16="http://schemas.microsoft.com/office/drawing/2014/main" id="{A33EA7C8-9A7E-4CEA-991F-E3ADF2E05E47}"/>
                  </a:ext>
                </a:extLst>
              </p:cNvPr>
              <p:cNvCxnSpPr/>
              <p:nvPr/>
            </p:nvCxnSpPr>
            <p:spPr>
              <a:xfrm>
                <a:off x="8647736" y="2154783"/>
                <a:ext cx="0" cy="0"/>
              </a:xfrm>
              <a:prstGeom prst="straightConnector1">
                <a:avLst/>
              </a:prstGeom>
              <a:grpFill/>
              <a:ln w="317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194" name="Shape 1429">
                <a:extLst>
                  <a:ext uri="{FF2B5EF4-FFF2-40B4-BE49-F238E27FC236}">
                    <a16:creationId xmlns:a16="http://schemas.microsoft.com/office/drawing/2014/main" id="{186762C8-5D41-490A-8C27-C2758CD203C1}"/>
                  </a:ext>
                </a:extLst>
              </p:cNvPr>
              <p:cNvCxnSpPr/>
              <p:nvPr/>
            </p:nvCxnSpPr>
            <p:spPr>
              <a:xfrm>
                <a:off x="8647736" y="2154783"/>
                <a:ext cx="0" cy="0"/>
              </a:xfrm>
              <a:prstGeom prst="straightConnector1">
                <a:avLst/>
              </a:pr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</p:cxnSp>
          <p:sp>
            <p:nvSpPr>
              <p:cNvPr id="195" name="Shape 1430">
                <a:extLst>
                  <a:ext uri="{FF2B5EF4-FFF2-40B4-BE49-F238E27FC236}">
                    <a16:creationId xmlns:a16="http://schemas.microsoft.com/office/drawing/2014/main" id="{29B6DD9D-2260-461F-A149-4944796DCF4C}"/>
                  </a:ext>
                </a:extLst>
              </p:cNvPr>
              <p:cNvSpPr/>
              <p:nvPr/>
            </p:nvSpPr>
            <p:spPr>
              <a:xfrm>
                <a:off x="8847856" y="1975036"/>
                <a:ext cx="992428" cy="935494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0" y="22666"/>
                    </a:moveTo>
                    <a:cubicBezTo>
                      <a:pt x="836" y="21777"/>
                      <a:pt x="836" y="21777"/>
                      <a:pt x="836" y="21777"/>
                    </a:cubicBezTo>
                    <a:cubicBezTo>
                      <a:pt x="2508" y="21777"/>
                      <a:pt x="2508" y="21777"/>
                      <a:pt x="2508" y="21777"/>
                    </a:cubicBezTo>
                    <a:cubicBezTo>
                      <a:pt x="4599" y="20444"/>
                      <a:pt x="4599" y="20444"/>
                      <a:pt x="4599" y="20444"/>
                    </a:cubicBezTo>
                    <a:cubicBezTo>
                      <a:pt x="5017" y="19555"/>
                      <a:pt x="5017" y="19555"/>
                      <a:pt x="5017" y="19555"/>
                    </a:cubicBezTo>
                    <a:cubicBezTo>
                      <a:pt x="5853" y="17777"/>
                      <a:pt x="5853" y="17777"/>
                      <a:pt x="5853" y="17777"/>
                    </a:cubicBezTo>
                    <a:cubicBezTo>
                      <a:pt x="7108" y="16444"/>
                      <a:pt x="7108" y="16444"/>
                      <a:pt x="7108" y="16444"/>
                    </a:cubicBezTo>
                    <a:cubicBezTo>
                      <a:pt x="8362" y="16000"/>
                      <a:pt x="8362" y="16000"/>
                      <a:pt x="8362" y="16000"/>
                    </a:cubicBezTo>
                    <a:cubicBezTo>
                      <a:pt x="9616" y="16000"/>
                      <a:pt x="9616" y="16000"/>
                      <a:pt x="9616" y="16000"/>
                    </a:cubicBezTo>
                    <a:cubicBezTo>
                      <a:pt x="12125" y="16000"/>
                      <a:pt x="12125" y="16000"/>
                      <a:pt x="12125" y="16000"/>
                    </a:cubicBezTo>
                    <a:cubicBezTo>
                      <a:pt x="13379" y="15111"/>
                      <a:pt x="13379" y="15111"/>
                      <a:pt x="13379" y="15111"/>
                    </a:cubicBezTo>
                    <a:cubicBezTo>
                      <a:pt x="17560" y="12000"/>
                      <a:pt x="17560" y="12000"/>
                      <a:pt x="17560" y="12000"/>
                    </a:cubicBezTo>
                    <a:cubicBezTo>
                      <a:pt x="18815" y="11555"/>
                      <a:pt x="18815" y="11555"/>
                      <a:pt x="18815" y="11555"/>
                    </a:cubicBezTo>
                    <a:cubicBezTo>
                      <a:pt x="20487" y="9777"/>
                      <a:pt x="20487" y="9777"/>
                      <a:pt x="20487" y="9777"/>
                    </a:cubicBezTo>
                    <a:cubicBezTo>
                      <a:pt x="21742" y="7555"/>
                      <a:pt x="21742" y="7555"/>
                      <a:pt x="21742" y="7555"/>
                    </a:cubicBezTo>
                    <a:cubicBezTo>
                      <a:pt x="23414" y="6222"/>
                      <a:pt x="23414" y="6222"/>
                      <a:pt x="23414" y="6222"/>
                    </a:cubicBezTo>
                    <a:cubicBezTo>
                      <a:pt x="25505" y="4000"/>
                      <a:pt x="25505" y="4000"/>
                      <a:pt x="25505" y="4000"/>
                    </a:cubicBezTo>
                    <a:cubicBezTo>
                      <a:pt x="27177" y="1777"/>
                      <a:pt x="27177" y="1777"/>
                      <a:pt x="27177" y="1777"/>
                    </a:cubicBezTo>
                    <a:cubicBezTo>
                      <a:pt x="29268" y="444"/>
                      <a:pt x="29268" y="444"/>
                      <a:pt x="29268" y="444"/>
                    </a:cubicBezTo>
                    <a:cubicBezTo>
                      <a:pt x="32195" y="0"/>
                      <a:pt x="32195" y="0"/>
                      <a:pt x="32195" y="0"/>
                    </a:cubicBezTo>
                    <a:cubicBezTo>
                      <a:pt x="33449" y="0"/>
                      <a:pt x="33449" y="0"/>
                      <a:pt x="33449" y="0"/>
                    </a:cubicBezTo>
                    <a:cubicBezTo>
                      <a:pt x="35540" y="888"/>
                      <a:pt x="35540" y="888"/>
                      <a:pt x="35540" y="888"/>
                    </a:cubicBezTo>
                    <a:cubicBezTo>
                      <a:pt x="34703" y="1333"/>
                      <a:pt x="34703" y="1333"/>
                      <a:pt x="34703" y="1333"/>
                    </a:cubicBezTo>
                    <a:cubicBezTo>
                      <a:pt x="33031" y="2222"/>
                      <a:pt x="33031" y="2222"/>
                      <a:pt x="33031" y="2222"/>
                    </a:cubicBezTo>
                    <a:cubicBezTo>
                      <a:pt x="31358" y="2666"/>
                      <a:pt x="31358" y="2666"/>
                      <a:pt x="31358" y="2666"/>
                    </a:cubicBezTo>
                    <a:cubicBezTo>
                      <a:pt x="31777" y="3555"/>
                      <a:pt x="31777" y="3555"/>
                      <a:pt x="31777" y="3555"/>
                    </a:cubicBezTo>
                    <a:cubicBezTo>
                      <a:pt x="29268" y="6222"/>
                      <a:pt x="29268" y="6222"/>
                      <a:pt x="29268" y="6222"/>
                    </a:cubicBezTo>
                    <a:cubicBezTo>
                      <a:pt x="29268" y="6222"/>
                      <a:pt x="28432" y="6222"/>
                      <a:pt x="28432" y="6666"/>
                    </a:cubicBezTo>
                    <a:cubicBezTo>
                      <a:pt x="28432" y="7111"/>
                      <a:pt x="27177" y="10222"/>
                      <a:pt x="27177" y="10222"/>
                    </a:cubicBezTo>
                    <a:cubicBezTo>
                      <a:pt x="27177" y="8444"/>
                      <a:pt x="27177" y="8444"/>
                      <a:pt x="27177" y="8444"/>
                    </a:cubicBezTo>
                    <a:cubicBezTo>
                      <a:pt x="26341" y="7555"/>
                      <a:pt x="26341" y="7555"/>
                      <a:pt x="26341" y="7555"/>
                    </a:cubicBezTo>
                    <a:cubicBezTo>
                      <a:pt x="25923" y="12000"/>
                      <a:pt x="25923" y="12000"/>
                      <a:pt x="25923" y="12000"/>
                    </a:cubicBezTo>
                    <a:cubicBezTo>
                      <a:pt x="25923" y="14666"/>
                      <a:pt x="25923" y="14666"/>
                      <a:pt x="25923" y="14666"/>
                    </a:cubicBezTo>
                    <a:cubicBezTo>
                      <a:pt x="27177" y="13777"/>
                      <a:pt x="27177" y="13777"/>
                      <a:pt x="27177" y="13777"/>
                    </a:cubicBezTo>
                    <a:cubicBezTo>
                      <a:pt x="28013" y="12888"/>
                      <a:pt x="28013" y="12888"/>
                      <a:pt x="28013" y="12888"/>
                    </a:cubicBezTo>
                    <a:cubicBezTo>
                      <a:pt x="28432" y="12888"/>
                      <a:pt x="28432" y="12888"/>
                      <a:pt x="28432" y="12888"/>
                    </a:cubicBezTo>
                    <a:cubicBezTo>
                      <a:pt x="28850" y="13777"/>
                      <a:pt x="28850" y="13777"/>
                      <a:pt x="28850" y="13777"/>
                    </a:cubicBezTo>
                    <a:cubicBezTo>
                      <a:pt x="30104" y="13777"/>
                      <a:pt x="30104" y="13777"/>
                      <a:pt x="30104" y="13777"/>
                    </a:cubicBezTo>
                    <a:cubicBezTo>
                      <a:pt x="30940" y="13333"/>
                      <a:pt x="30940" y="13333"/>
                      <a:pt x="30940" y="13333"/>
                    </a:cubicBezTo>
                    <a:cubicBezTo>
                      <a:pt x="32195" y="12444"/>
                      <a:pt x="32195" y="12444"/>
                      <a:pt x="32195" y="12444"/>
                    </a:cubicBezTo>
                    <a:cubicBezTo>
                      <a:pt x="34285" y="12888"/>
                      <a:pt x="34285" y="12888"/>
                      <a:pt x="34285" y="12888"/>
                    </a:cubicBezTo>
                    <a:cubicBezTo>
                      <a:pt x="38466" y="15111"/>
                      <a:pt x="38466" y="15111"/>
                      <a:pt x="38466" y="15111"/>
                    </a:cubicBezTo>
                    <a:cubicBezTo>
                      <a:pt x="40975" y="18222"/>
                      <a:pt x="40975" y="18222"/>
                      <a:pt x="40975" y="18222"/>
                    </a:cubicBezTo>
                    <a:cubicBezTo>
                      <a:pt x="42648" y="19555"/>
                      <a:pt x="42648" y="19555"/>
                      <a:pt x="42648" y="19555"/>
                    </a:cubicBezTo>
                    <a:cubicBezTo>
                      <a:pt x="46411" y="20000"/>
                      <a:pt x="46411" y="20000"/>
                      <a:pt x="46411" y="20000"/>
                    </a:cubicBezTo>
                    <a:cubicBezTo>
                      <a:pt x="47665" y="19555"/>
                      <a:pt x="47665" y="19555"/>
                      <a:pt x="47665" y="19555"/>
                    </a:cubicBezTo>
                    <a:cubicBezTo>
                      <a:pt x="50592" y="20444"/>
                      <a:pt x="50592" y="20444"/>
                      <a:pt x="50592" y="20444"/>
                    </a:cubicBezTo>
                    <a:cubicBezTo>
                      <a:pt x="53101" y="21333"/>
                      <a:pt x="53101" y="21333"/>
                      <a:pt x="53101" y="21333"/>
                    </a:cubicBezTo>
                    <a:cubicBezTo>
                      <a:pt x="54355" y="19555"/>
                      <a:pt x="54355" y="19555"/>
                      <a:pt x="54355" y="19555"/>
                    </a:cubicBezTo>
                    <a:cubicBezTo>
                      <a:pt x="56445" y="17333"/>
                      <a:pt x="56445" y="17333"/>
                      <a:pt x="56445" y="17333"/>
                    </a:cubicBezTo>
                    <a:cubicBezTo>
                      <a:pt x="58118" y="15555"/>
                      <a:pt x="58118" y="15555"/>
                      <a:pt x="58118" y="15555"/>
                    </a:cubicBezTo>
                    <a:cubicBezTo>
                      <a:pt x="61881" y="14666"/>
                      <a:pt x="61881" y="14666"/>
                      <a:pt x="61881" y="14666"/>
                    </a:cubicBezTo>
                    <a:cubicBezTo>
                      <a:pt x="64390" y="13777"/>
                      <a:pt x="64390" y="13777"/>
                      <a:pt x="64390" y="13777"/>
                    </a:cubicBezTo>
                    <a:cubicBezTo>
                      <a:pt x="66898" y="13777"/>
                      <a:pt x="66898" y="13777"/>
                      <a:pt x="66898" y="13777"/>
                    </a:cubicBezTo>
                    <a:cubicBezTo>
                      <a:pt x="70662" y="12444"/>
                      <a:pt x="70662" y="12444"/>
                      <a:pt x="70662" y="12444"/>
                    </a:cubicBezTo>
                    <a:cubicBezTo>
                      <a:pt x="73170" y="11555"/>
                      <a:pt x="73170" y="11555"/>
                      <a:pt x="73170" y="11555"/>
                    </a:cubicBezTo>
                    <a:cubicBezTo>
                      <a:pt x="74425" y="12444"/>
                      <a:pt x="74425" y="12444"/>
                      <a:pt x="74425" y="12444"/>
                    </a:cubicBezTo>
                    <a:cubicBezTo>
                      <a:pt x="75261" y="16000"/>
                      <a:pt x="75261" y="16000"/>
                      <a:pt x="75261" y="16000"/>
                    </a:cubicBezTo>
                    <a:cubicBezTo>
                      <a:pt x="79860" y="16888"/>
                      <a:pt x="79860" y="16888"/>
                      <a:pt x="79860" y="16888"/>
                    </a:cubicBezTo>
                    <a:cubicBezTo>
                      <a:pt x="82787" y="16888"/>
                      <a:pt x="82787" y="16888"/>
                      <a:pt x="82787" y="16888"/>
                    </a:cubicBezTo>
                    <a:cubicBezTo>
                      <a:pt x="84878" y="17333"/>
                      <a:pt x="84878" y="17333"/>
                      <a:pt x="84878" y="17333"/>
                    </a:cubicBezTo>
                    <a:cubicBezTo>
                      <a:pt x="86550" y="19555"/>
                      <a:pt x="86550" y="19555"/>
                      <a:pt x="86550" y="19555"/>
                    </a:cubicBezTo>
                    <a:cubicBezTo>
                      <a:pt x="89059" y="22666"/>
                      <a:pt x="89059" y="22666"/>
                      <a:pt x="89059" y="22666"/>
                    </a:cubicBezTo>
                    <a:cubicBezTo>
                      <a:pt x="89895" y="23555"/>
                      <a:pt x="89895" y="23555"/>
                      <a:pt x="89895" y="23555"/>
                    </a:cubicBezTo>
                    <a:cubicBezTo>
                      <a:pt x="89895" y="23555"/>
                      <a:pt x="90313" y="24000"/>
                      <a:pt x="90731" y="24444"/>
                    </a:cubicBezTo>
                    <a:cubicBezTo>
                      <a:pt x="91149" y="24888"/>
                      <a:pt x="91567" y="25777"/>
                      <a:pt x="91567" y="25777"/>
                    </a:cubicBezTo>
                    <a:cubicBezTo>
                      <a:pt x="93658" y="26222"/>
                      <a:pt x="93658" y="26222"/>
                      <a:pt x="93658" y="26222"/>
                    </a:cubicBezTo>
                    <a:cubicBezTo>
                      <a:pt x="93658" y="26222"/>
                      <a:pt x="94494" y="25333"/>
                      <a:pt x="94494" y="25333"/>
                    </a:cubicBezTo>
                    <a:cubicBezTo>
                      <a:pt x="94494" y="24888"/>
                      <a:pt x="96167" y="24000"/>
                      <a:pt x="96167" y="24000"/>
                    </a:cubicBezTo>
                    <a:cubicBezTo>
                      <a:pt x="97003" y="24888"/>
                      <a:pt x="97003" y="24888"/>
                      <a:pt x="97003" y="24888"/>
                    </a:cubicBezTo>
                    <a:cubicBezTo>
                      <a:pt x="97003" y="24888"/>
                      <a:pt x="97839" y="25333"/>
                      <a:pt x="97003" y="25777"/>
                    </a:cubicBezTo>
                    <a:cubicBezTo>
                      <a:pt x="96585" y="25777"/>
                      <a:pt x="96167" y="26666"/>
                      <a:pt x="95749" y="26666"/>
                    </a:cubicBezTo>
                    <a:cubicBezTo>
                      <a:pt x="94912" y="26666"/>
                      <a:pt x="94076" y="26666"/>
                      <a:pt x="94076" y="26666"/>
                    </a:cubicBezTo>
                    <a:cubicBezTo>
                      <a:pt x="92404" y="26666"/>
                      <a:pt x="92404" y="26666"/>
                      <a:pt x="92404" y="26666"/>
                    </a:cubicBezTo>
                    <a:cubicBezTo>
                      <a:pt x="91567" y="27555"/>
                      <a:pt x="91567" y="27555"/>
                      <a:pt x="91567" y="27555"/>
                    </a:cubicBezTo>
                    <a:cubicBezTo>
                      <a:pt x="86968" y="27555"/>
                      <a:pt x="86968" y="27555"/>
                      <a:pt x="86968" y="27555"/>
                    </a:cubicBezTo>
                    <a:cubicBezTo>
                      <a:pt x="85714" y="28000"/>
                      <a:pt x="85714" y="28000"/>
                      <a:pt x="85714" y="28000"/>
                    </a:cubicBezTo>
                    <a:cubicBezTo>
                      <a:pt x="84041" y="27111"/>
                      <a:pt x="84041" y="27111"/>
                      <a:pt x="84041" y="27111"/>
                    </a:cubicBezTo>
                    <a:cubicBezTo>
                      <a:pt x="82369" y="26222"/>
                      <a:pt x="82369" y="26222"/>
                      <a:pt x="82369" y="26222"/>
                    </a:cubicBezTo>
                    <a:cubicBezTo>
                      <a:pt x="80696" y="28444"/>
                      <a:pt x="80696" y="28444"/>
                      <a:pt x="80696" y="28444"/>
                    </a:cubicBezTo>
                    <a:cubicBezTo>
                      <a:pt x="81114" y="29777"/>
                      <a:pt x="81114" y="29777"/>
                      <a:pt x="81114" y="29777"/>
                    </a:cubicBezTo>
                    <a:cubicBezTo>
                      <a:pt x="81114" y="30666"/>
                      <a:pt x="81114" y="30666"/>
                      <a:pt x="81114" y="30666"/>
                    </a:cubicBezTo>
                    <a:cubicBezTo>
                      <a:pt x="81114" y="30666"/>
                      <a:pt x="81114" y="31555"/>
                      <a:pt x="81533" y="31555"/>
                    </a:cubicBezTo>
                    <a:cubicBezTo>
                      <a:pt x="81533" y="31555"/>
                      <a:pt x="81951" y="32000"/>
                      <a:pt x="81951" y="32000"/>
                    </a:cubicBezTo>
                    <a:cubicBezTo>
                      <a:pt x="84041" y="32888"/>
                      <a:pt x="84041" y="32888"/>
                      <a:pt x="84041" y="32888"/>
                    </a:cubicBezTo>
                    <a:cubicBezTo>
                      <a:pt x="84878" y="32000"/>
                      <a:pt x="84878" y="32000"/>
                      <a:pt x="84878" y="32000"/>
                    </a:cubicBezTo>
                    <a:cubicBezTo>
                      <a:pt x="84878" y="32000"/>
                      <a:pt x="83623" y="31111"/>
                      <a:pt x="84041" y="31111"/>
                    </a:cubicBezTo>
                    <a:cubicBezTo>
                      <a:pt x="84459" y="31111"/>
                      <a:pt x="86132" y="32000"/>
                      <a:pt x="86132" y="32000"/>
                    </a:cubicBezTo>
                    <a:cubicBezTo>
                      <a:pt x="86132" y="32000"/>
                      <a:pt x="85714" y="32888"/>
                      <a:pt x="85714" y="32888"/>
                    </a:cubicBezTo>
                    <a:cubicBezTo>
                      <a:pt x="85296" y="33333"/>
                      <a:pt x="85296" y="33333"/>
                      <a:pt x="85296" y="33333"/>
                    </a:cubicBezTo>
                    <a:cubicBezTo>
                      <a:pt x="85714" y="33777"/>
                      <a:pt x="87804" y="34222"/>
                      <a:pt x="87804" y="34222"/>
                    </a:cubicBezTo>
                    <a:cubicBezTo>
                      <a:pt x="88222" y="34222"/>
                      <a:pt x="89477" y="35111"/>
                      <a:pt x="89477" y="35111"/>
                    </a:cubicBezTo>
                    <a:cubicBezTo>
                      <a:pt x="91567" y="36444"/>
                      <a:pt x="91567" y="36444"/>
                      <a:pt x="91567" y="36444"/>
                    </a:cubicBezTo>
                    <a:cubicBezTo>
                      <a:pt x="94494" y="37777"/>
                      <a:pt x="94494" y="37777"/>
                      <a:pt x="94494" y="37777"/>
                    </a:cubicBezTo>
                    <a:cubicBezTo>
                      <a:pt x="97839" y="39111"/>
                      <a:pt x="97839" y="39111"/>
                      <a:pt x="97839" y="39111"/>
                    </a:cubicBezTo>
                    <a:cubicBezTo>
                      <a:pt x="101184" y="42666"/>
                      <a:pt x="101184" y="42666"/>
                      <a:pt x="101184" y="42666"/>
                    </a:cubicBezTo>
                    <a:cubicBezTo>
                      <a:pt x="102857" y="44888"/>
                      <a:pt x="102857" y="44888"/>
                      <a:pt x="102857" y="44888"/>
                    </a:cubicBezTo>
                    <a:cubicBezTo>
                      <a:pt x="102020" y="45777"/>
                      <a:pt x="102020" y="45777"/>
                      <a:pt x="102020" y="45777"/>
                    </a:cubicBezTo>
                    <a:cubicBezTo>
                      <a:pt x="102020" y="45777"/>
                      <a:pt x="101602" y="45777"/>
                      <a:pt x="101602" y="46222"/>
                    </a:cubicBezTo>
                    <a:cubicBezTo>
                      <a:pt x="102020" y="46666"/>
                      <a:pt x="102857" y="48444"/>
                      <a:pt x="102857" y="48444"/>
                    </a:cubicBezTo>
                    <a:cubicBezTo>
                      <a:pt x="102439" y="48888"/>
                      <a:pt x="103275" y="50222"/>
                      <a:pt x="103275" y="50222"/>
                    </a:cubicBezTo>
                    <a:cubicBezTo>
                      <a:pt x="104111" y="55111"/>
                      <a:pt x="104111" y="55111"/>
                      <a:pt x="104111" y="55111"/>
                    </a:cubicBezTo>
                    <a:cubicBezTo>
                      <a:pt x="104529" y="57777"/>
                      <a:pt x="104529" y="57777"/>
                      <a:pt x="104529" y="57777"/>
                    </a:cubicBezTo>
                    <a:cubicBezTo>
                      <a:pt x="104111" y="60444"/>
                      <a:pt x="104111" y="60444"/>
                      <a:pt x="104111" y="60444"/>
                    </a:cubicBezTo>
                    <a:cubicBezTo>
                      <a:pt x="102439" y="62666"/>
                      <a:pt x="102439" y="62666"/>
                      <a:pt x="102439" y="62666"/>
                    </a:cubicBezTo>
                    <a:cubicBezTo>
                      <a:pt x="101184" y="65333"/>
                      <a:pt x="101184" y="65333"/>
                      <a:pt x="101184" y="65333"/>
                    </a:cubicBezTo>
                    <a:cubicBezTo>
                      <a:pt x="101184" y="65333"/>
                      <a:pt x="100348" y="67111"/>
                      <a:pt x="99930" y="67555"/>
                    </a:cubicBezTo>
                    <a:cubicBezTo>
                      <a:pt x="99930" y="67555"/>
                      <a:pt x="98257" y="68888"/>
                      <a:pt x="98257" y="69333"/>
                    </a:cubicBezTo>
                    <a:cubicBezTo>
                      <a:pt x="98257" y="69333"/>
                      <a:pt x="97421" y="71111"/>
                      <a:pt x="97421" y="71111"/>
                    </a:cubicBezTo>
                    <a:cubicBezTo>
                      <a:pt x="97421" y="74666"/>
                      <a:pt x="97421" y="74666"/>
                      <a:pt x="97421" y="74666"/>
                    </a:cubicBezTo>
                    <a:cubicBezTo>
                      <a:pt x="98257" y="75555"/>
                      <a:pt x="98257" y="75555"/>
                      <a:pt x="98257" y="75555"/>
                    </a:cubicBezTo>
                    <a:cubicBezTo>
                      <a:pt x="100348" y="76444"/>
                      <a:pt x="100348" y="76444"/>
                      <a:pt x="100348" y="76444"/>
                    </a:cubicBezTo>
                    <a:cubicBezTo>
                      <a:pt x="101184" y="75555"/>
                      <a:pt x="101184" y="75555"/>
                      <a:pt x="101184" y="75555"/>
                    </a:cubicBezTo>
                    <a:cubicBezTo>
                      <a:pt x="101184" y="75555"/>
                      <a:pt x="102020" y="75111"/>
                      <a:pt x="102020" y="74666"/>
                    </a:cubicBezTo>
                    <a:cubicBezTo>
                      <a:pt x="102439" y="74666"/>
                      <a:pt x="102857" y="73777"/>
                      <a:pt x="102857" y="73777"/>
                    </a:cubicBezTo>
                    <a:cubicBezTo>
                      <a:pt x="102857" y="73777"/>
                      <a:pt x="104111" y="72888"/>
                      <a:pt x="104111" y="72888"/>
                    </a:cubicBezTo>
                    <a:cubicBezTo>
                      <a:pt x="104111" y="72888"/>
                      <a:pt x="104111" y="71555"/>
                      <a:pt x="104111" y="71555"/>
                    </a:cubicBezTo>
                    <a:cubicBezTo>
                      <a:pt x="104111" y="71555"/>
                      <a:pt x="104529" y="69777"/>
                      <a:pt x="104529" y="69777"/>
                    </a:cubicBezTo>
                    <a:cubicBezTo>
                      <a:pt x="104529" y="69777"/>
                      <a:pt x="105365" y="69333"/>
                      <a:pt x="105365" y="69333"/>
                    </a:cubicBezTo>
                    <a:cubicBezTo>
                      <a:pt x="105365" y="68888"/>
                      <a:pt x="106620" y="68000"/>
                      <a:pt x="106620" y="68000"/>
                    </a:cubicBezTo>
                    <a:cubicBezTo>
                      <a:pt x="106620" y="68000"/>
                      <a:pt x="108292" y="66666"/>
                      <a:pt x="108292" y="66666"/>
                    </a:cubicBezTo>
                    <a:cubicBezTo>
                      <a:pt x="108710" y="66666"/>
                      <a:pt x="109547" y="65333"/>
                      <a:pt x="109547" y="65333"/>
                    </a:cubicBezTo>
                    <a:cubicBezTo>
                      <a:pt x="110801" y="65333"/>
                      <a:pt x="110801" y="65333"/>
                      <a:pt x="110801" y="65333"/>
                    </a:cubicBezTo>
                    <a:cubicBezTo>
                      <a:pt x="112473" y="65777"/>
                      <a:pt x="112473" y="65777"/>
                      <a:pt x="112473" y="65777"/>
                    </a:cubicBezTo>
                    <a:cubicBezTo>
                      <a:pt x="114982" y="68444"/>
                      <a:pt x="114982" y="68444"/>
                      <a:pt x="114982" y="68444"/>
                    </a:cubicBezTo>
                    <a:cubicBezTo>
                      <a:pt x="116655" y="72000"/>
                      <a:pt x="116655" y="72000"/>
                      <a:pt x="116655" y="72000"/>
                    </a:cubicBezTo>
                    <a:cubicBezTo>
                      <a:pt x="118327" y="81777"/>
                      <a:pt x="118327" y="81777"/>
                      <a:pt x="118327" y="81777"/>
                    </a:cubicBezTo>
                    <a:cubicBezTo>
                      <a:pt x="119581" y="84000"/>
                      <a:pt x="119581" y="84000"/>
                      <a:pt x="119581" y="84000"/>
                    </a:cubicBezTo>
                    <a:cubicBezTo>
                      <a:pt x="119581" y="85777"/>
                      <a:pt x="119581" y="85777"/>
                      <a:pt x="119581" y="85777"/>
                    </a:cubicBezTo>
                    <a:cubicBezTo>
                      <a:pt x="119581" y="85777"/>
                      <a:pt x="120000" y="87111"/>
                      <a:pt x="120000" y="87555"/>
                    </a:cubicBezTo>
                    <a:cubicBezTo>
                      <a:pt x="120000" y="88000"/>
                      <a:pt x="120000" y="94666"/>
                      <a:pt x="120000" y="94666"/>
                    </a:cubicBezTo>
                    <a:cubicBezTo>
                      <a:pt x="117073" y="94666"/>
                      <a:pt x="117073" y="94666"/>
                      <a:pt x="117073" y="94666"/>
                    </a:cubicBezTo>
                    <a:cubicBezTo>
                      <a:pt x="116236" y="94666"/>
                      <a:pt x="116236" y="94666"/>
                      <a:pt x="116236" y="94666"/>
                    </a:cubicBezTo>
                    <a:cubicBezTo>
                      <a:pt x="116236" y="96000"/>
                      <a:pt x="116236" y="96000"/>
                      <a:pt x="116236" y="96000"/>
                    </a:cubicBezTo>
                    <a:cubicBezTo>
                      <a:pt x="114982" y="97777"/>
                      <a:pt x="114982" y="97777"/>
                      <a:pt x="114982" y="97777"/>
                    </a:cubicBezTo>
                    <a:cubicBezTo>
                      <a:pt x="114564" y="100000"/>
                      <a:pt x="114564" y="100000"/>
                      <a:pt x="114564" y="100000"/>
                    </a:cubicBezTo>
                    <a:cubicBezTo>
                      <a:pt x="113728" y="101777"/>
                      <a:pt x="113728" y="101777"/>
                      <a:pt x="113728" y="101777"/>
                    </a:cubicBezTo>
                    <a:cubicBezTo>
                      <a:pt x="112473" y="103555"/>
                      <a:pt x="112473" y="103555"/>
                      <a:pt x="112473" y="103555"/>
                    </a:cubicBezTo>
                    <a:cubicBezTo>
                      <a:pt x="111219" y="108000"/>
                      <a:pt x="111219" y="108000"/>
                      <a:pt x="111219" y="108000"/>
                    </a:cubicBezTo>
                    <a:cubicBezTo>
                      <a:pt x="111219" y="110666"/>
                      <a:pt x="111219" y="110666"/>
                      <a:pt x="111219" y="110666"/>
                    </a:cubicBezTo>
                    <a:cubicBezTo>
                      <a:pt x="109547" y="112888"/>
                      <a:pt x="109547" y="112888"/>
                      <a:pt x="109547" y="112888"/>
                    </a:cubicBezTo>
                    <a:cubicBezTo>
                      <a:pt x="108292" y="115111"/>
                      <a:pt x="108292" y="115111"/>
                      <a:pt x="108292" y="115111"/>
                    </a:cubicBezTo>
                    <a:cubicBezTo>
                      <a:pt x="89059" y="118666"/>
                      <a:pt x="89059" y="118666"/>
                      <a:pt x="89059" y="118666"/>
                    </a:cubicBezTo>
                    <a:cubicBezTo>
                      <a:pt x="88641" y="117777"/>
                      <a:pt x="88641" y="117777"/>
                      <a:pt x="88641" y="117777"/>
                    </a:cubicBezTo>
                    <a:cubicBezTo>
                      <a:pt x="58954" y="120000"/>
                      <a:pt x="58954" y="120000"/>
                      <a:pt x="58954" y="120000"/>
                    </a:cubicBezTo>
                    <a:cubicBezTo>
                      <a:pt x="61045" y="117777"/>
                      <a:pt x="61045" y="117777"/>
                      <a:pt x="61045" y="117777"/>
                    </a:cubicBezTo>
                    <a:cubicBezTo>
                      <a:pt x="61881" y="116000"/>
                      <a:pt x="61881" y="116000"/>
                      <a:pt x="61881" y="116000"/>
                    </a:cubicBezTo>
                    <a:cubicBezTo>
                      <a:pt x="63554" y="112888"/>
                      <a:pt x="63554" y="112888"/>
                      <a:pt x="63554" y="112888"/>
                    </a:cubicBezTo>
                    <a:cubicBezTo>
                      <a:pt x="65226" y="108888"/>
                      <a:pt x="65226" y="108888"/>
                      <a:pt x="65226" y="108888"/>
                    </a:cubicBezTo>
                    <a:cubicBezTo>
                      <a:pt x="66062" y="104444"/>
                      <a:pt x="66062" y="104444"/>
                      <a:pt x="66062" y="104444"/>
                    </a:cubicBezTo>
                    <a:cubicBezTo>
                      <a:pt x="65644" y="96444"/>
                      <a:pt x="65644" y="96444"/>
                      <a:pt x="65644" y="96444"/>
                    </a:cubicBezTo>
                    <a:cubicBezTo>
                      <a:pt x="65644" y="92888"/>
                      <a:pt x="65644" y="92888"/>
                      <a:pt x="65644" y="92888"/>
                    </a:cubicBezTo>
                    <a:cubicBezTo>
                      <a:pt x="63972" y="90222"/>
                      <a:pt x="63972" y="90222"/>
                      <a:pt x="63972" y="90222"/>
                    </a:cubicBezTo>
                    <a:cubicBezTo>
                      <a:pt x="62299" y="86666"/>
                      <a:pt x="62299" y="86666"/>
                      <a:pt x="62299" y="86666"/>
                    </a:cubicBezTo>
                    <a:cubicBezTo>
                      <a:pt x="60627" y="84888"/>
                      <a:pt x="60627" y="84888"/>
                      <a:pt x="60627" y="84888"/>
                    </a:cubicBezTo>
                    <a:cubicBezTo>
                      <a:pt x="59372" y="81777"/>
                      <a:pt x="59372" y="81777"/>
                      <a:pt x="59372" y="81777"/>
                    </a:cubicBezTo>
                    <a:cubicBezTo>
                      <a:pt x="60209" y="79555"/>
                      <a:pt x="60209" y="79555"/>
                      <a:pt x="60209" y="79555"/>
                    </a:cubicBezTo>
                    <a:cubicBezTo>
                      <a:pt x="61045" y="78666"/>
                      <a:pt x="61045" y="78666"/>
                      <a:pt x="61045" y="78666"/>
                    </a:cubicBezTo>
                    <a:cubicBezTo>
                      <a:pt x="61045" y="76888"/>
                      <a:pt x="61045" y="76888"/>
                      <a:pt x="61045" y="76888"/>
                    </a:cubicBezTo>
                    <a:cubicBezTo>
                      <a:pt x="60209" y="73333"/>
                      <a:pt x="60209" y="73333"/>
                      <a:pt x="60209" y="73333"/>
                    </a:cubicBezTo>
                    <a:cubicBezTo>
                      <a:pt x="58954" y="72000"/>
                      <a:pt x="58954" y="72000"/>
                      <a:pt x="58954" y="72000"/>
                    </a:cubicBezTo>
                    <a:cubicBezTo>
                      <a:pt x="60209" y="71111"/>
                      <a:pt x="60209" y="71111"/>
                      <a:pt x="60209" y="71111"/>
                    </a:cubicBezTo>
                    <a:cubicBezTo>
                      <a:pt x="60627" y="68888"/>
                      <a:pt x="60627" y="68888"/>
                      <a:pt x="60627" y="68888"/>
                    </a:cubicBezTo>
                    <a:cubicBezTo>
                      <a:pt x="61045" y="66666"/>
                      <a:pt x="61045" y="66666"/>
                      <a:pt x="61045" y="66666"/>
                    </a:cubicBezTo>
                    <a:cubicBezTo>
                      <a:pt x="61881" y="65333"/>
                      <a:pt x="61881" y="65333"/>
                      <a:pt x="61881" y="65333"/>
                    </a:cubicBezTo>
                    <a:cubicBezTo>
                      <a:pt x="61881" y="61777"/>
                      <a:pt x="61881" y="61777"/>
                      <a:pt x="61881" y="61777"/>
                    </a:cubicBezTo>
                    <a:cubicBezTo>
                      <a:pt x="61463" y="60000"/>
                      <a:pt x="61463" y="60000"/>
                      <a:pt x="61463" y="60000"/>
                    </a:cubicBezTo>
                    <a:cubicBezTo>
                      <a:pt x="61881" y="57777"/>
                      <a:pt x="61881" y="57777"/>
                      <a:pt x="61881" y="57777"/>
                    </a:cubicBezTo>
                    <a:cubicBezTo>
                      <a:pt x="63135" y="56000"/>
                      <a:pt x="63135" y="56000"/>
                      <a:pt x="63135" y="56000"/>
                    </a:cubicBezTo>
                    <a:cubicBezTo>
                      <a:pt x="63972" y="54222"/>
                      <a:pt x="63972" y="54222"/>
                      <a:pt x="63972" y="54222"/>
                    </a:cubicBezTo>
                    <a:cubicBezTo>
                      <a:pt x="63972" y="52000"/>
                      <a:pt x="63972" y="52000"/>
                      <a:pt x="63972" y="52000"/>
                    </a:cubicBezTo>
                    <a:cubicBezTo>
                      <a:pt x="65644" y="51555"/>
                      <a:pt x="65644" y="51555"/>
                      <a:pt x="65644" y="51555"/>
                    </a:cubicBezTo>
                    <a:cubicBezTo>
                      <a:pt x="68153" y="51555"/>
                      <a:pt x="68153" y="51555"/>
                      <a:pt x="68153" y="51555"/>
                    </a:cubicBezTo>
                    <a:cubicBezTo>
                      <a:pt x="68989" y="48000"/>
                      <a:pt x="68989" y="48000"/>
                      <a:pt x="68989" y="48000"/>
                    </a:cubicBezTo>
                    <a:cubicBezTo>
                      <a:pt x="69407" y="47111"/>
                      <a:pt x="69407" y="47111"/>
                      <a:pt x="69407" y="47111"/>
                    </a:cubicBezTo>
                    <a:cubicBezTo>
                      <a:pt x="70243" y="46666"/>
                      <a:pt x="70243" y="46666"/>
                      <a:pt x="70243" y="46666"/>
                    </a:cubicBezTo>
                    <a:cubicBezTo>
                      <a:pt x="71498" y="50666"/>
                      <a:pt x="71498" y="50666"/>
                      <a:pt x="71498" y="50666"/>
                    </a:cubicBezTo>
                    <a:cubicBezTo>
                      <a:pt x="69825" y="52888"/>
                      <a:pt x="69825" y="52888"/>
                      <a:pt x="69825" y="52888"/>
                    </a:cubicBezTo>
                    <a:cubicBezTo>
                      <a:pt x="69825" y="53777"/>
                      <a:pt x="69825" y="53777"/>
                      <a:pt x="69825" y="53777"/>
                    </a:cubicBezTo>
                    <a:cubicBezTo>
                      <a:pt x="69825" y="53777"/>
                      <a:pt x="70243" y="54222"/>
                      <a:pt x="70662" y="54222"/>
                    </a:cubicBezTo>
                    <a:cubicBezTo>
                      <a:pt x="71080" y="54222"/>
                      <a:pt x="71080" y="54222"/>
                      <a:pt x="71080" y="54222"/>
                    </a:cubicBezTo>
                    <a:cubicBezTo>
                      <a:pt x="71080" y="54222"/>
                      <a:pt x="71916" y="53777"/>
                      <a:pt x="71916" y="53777"/>
                    </a:cubicBezTo>
                    <a:cubicBezTo>
                      <a:pt x="71916" y="53333"/>
                      <a:pt x="72334" y="52000"/>
                      <a:pt x="72334" y="52000"/>
                    </a:cubicBezTo>
                    <a:cubicBezTo>
                      <a:pt x="72752" y="51555"/>
                      <a:pt x="72752" y="51555"/>
                      <a:pt x="72752" y="51555"/>
                    </a:cubicBezTo>
                    <a:cubicBezTo>
                      <a:pt x="73170" y="49333"/>
                      <a:pt x="73170" y="49333"/>
                      <a:pt x="73170" y="49333"/>
                    </a:cubicBezTo>
                    <a:cubicBezTo>
                      <a:pt x="73170" y="48000"/>
                      <a:pt x="73170" y="48000"/>
                      <a:pt x="73170" y="48000"/>
                    </a:cubicBezTo>
                    <a:cubicBezTo>
                      <a:pt x="73170" y="46222"/>
                      <a:pt x="73170" y="46222"/>
                      <a:pt x="73170" y="46222"/>
                    </a:cubicBezTo>
                    <a:cubicBezTo>
                      <a:pt x="73170" y="44444"/>
                      <a:pt x="73170" y="44444"/>
                      <a:pt x="73170" y="44444"/>
                    </a:cubicBezTo>
                    <a:cubicBezTo>
                      <a:pt x="74425" y="42666"/>
                      <a:pt x="74425" y="42666"/>
                      <a:pt x="74425" y="42666"/>
                    </a:cubicBezTo>
                    <a:cubicBezTo>
                      <a:pt x="75261" y="41777"/>
                      <a:pt x="75261" y="41777"/>
                      <a:pt x="75261" y="41777"/>
                    </a:cubicBezTo>
                    <a:cubicBezTo>
                      <a:pt x="77351" y="41333"/>
                      <a:pt x="77351" y="41333"/>
                      <a:pt x="77351" y="41333"/>
                    </a:cubicBezTo>
                    <a:cubicBezTo>
                      <a:pt x="78188" y="40444"/>
                      <a:pt x="78188" y="40444"/>
                      <a:pt x="78188" y="40444"/>
                    </a:cubicBezTo>
                    <a:cubicBezTo>
                      <a:pt x="76515" y="38666"/>
                      <a:pt x="76515" y="38666"/>
                      <a:pt x="76515" y="38666"/>
                    </a:cubicBezTo>
                    <a:cubicBezTo>
                      <a:pt x="76097" y="37333"/>
                      <a:pt x="76097" y="37333"/>
                      <a:pt x="76097" y="37333"/>
                    </a:cubicBezTo>
                    <a:cubicBezTo>
                      <a:pt x="76933" y="36000"/>
                      <a:pt x="76933" y="36000"/>
                      <a:pt x="76933" y="36000"/>
                    </a:cubicBezTo>
                    <a:cubicBezTo>
                      <a:pt x="77770" y="34666"/>
                      <a:pt x="77770" y="34666"/>
                      <a:pt x="77770" y="34666"/>
                    </a:cubicBezTo>
                    <a:cubicBezTo>
                      <a:pt x="78188" y="34222"/>
                      <a:pt x="78188" y="34222"/>
                      <a:pt x="78188" y="34222"/>
                    </a:cubicBezTo>
                    <a:cubicBezTo>
                      <a:pt x="78188" y="33333"/>
                      <a:pt x="78188" y="33333"/>
                      <a:pt x="78188" y="33333"/>
                    </a:cubicBezTo>
                    <a:cubicBezTo>
                      <a:pt x="78606" y="32888"/>
                      <a:pt x="78606" y="32888"/>
                      <a:pt x="78606" y="32888"/>
                    </a:cubicBezTo>
                    <a:cubicBezTo>
                      <a:pt x="78606" y="32888"/>
                      <a:pt x="78606" y="32888"/>
                      <a:pt x="79024" y="32888"/>
                    </a:cubicBezTo>
                    <a:cubicBezTo>
                      <a:pt x="79024" y="32888"/>
                      <a:pt x="80696" y="32444"/>
                      <a:pt x="80696" y="32444"/>
                    </a:cubicBezTo>
                    <a:cubicBezTo>
                      <a:pt x="81533" y="32444"/>
                      <a:pt x="81533" y="32444"/>
                      <a:pt x="81533" y="32444"/>
                    </a:cubicBezTo>
                    <a:cubicBezTo>
                      <a:pt x="80696" y="31111"/>
                      <a:pt x="80696" y="31111"/>
                      <a:pt x="80696" y="31111"/>
                    </a:cubicBezTo>
                    <a:cubicBezTo>
                      <a:pt x="79024" y="29777"/>
                      <a:pt x="79024" y="29777"/>
                      <a:pt x="79024" y="29777"/>
                    </a:cubicBezTo>
                    <a:cubicBezTo>
                      <a:pt x="78188" y="28888"/>
                      <a:pt x="78188" y="28888"/>
                      <a:pt x="78188" y="28888"/>
                    </a:cubicBezTo>
                    <a:cubicBezTo>
                      <a:pt x="76933" y="28000"/>
                      <a:pt x="76933" y="28000"/>
                      <a:pt x="76933" y="28000"/>
                    </a:cubicBezTo>
                    <a:cubicBezTo>
                      <a:pt x="74843" y="27111"/>
                      <a:pt x="74843" y="27111"/>
                      <a:pt x="74843" y="27111"/>
                    </a:cubicBezTo>
                    <a:cubicBezTo>
                      <a:pt x="71080" y="26666"/>
                      <a:pt x="71080" y="26666"/>
                      <a:pt x="71080" y="26666"/>
                    </a:cubicBezTo>
                    <a:cubicBezTo>
                      <a:pt x="68153" y="28444"/>
                      <a:pt x="68153" y="28444"/>
                      <a:pt x="68153" y="28444"/>
                    </a:cubicBezTo>
                    <a:cubicBezTo>
                      <a:pt x="66480" y="30222"/>
                      <a:pt x="66480" y="30222"/>
                      <a:pt x="66480" y="30222"/>
                    </a:cubicBezTo>
                    <a:cubicBezTo>
                      <a:pt x="63554" y="30666"/>
                      <a:pt x="63554" y="30666"/>
                      <a:pt x="63554" y="30666"/>
                    </a:cubicBezTo>
                    <a:cubicBezTo>
                      <a:pt x="60209" y="30666"/>
                      <a:pt x="60209" y="30666"/>
                      <a:pt x="60209" y="30666"/>
                    </a:cubicBezTo>
                    <a:cubicBezTo>
                      <a:pt x="58536" y="32000"/>
                      <a:pt x="58536" y="32000"/>
                      <a:pt x="58536" y="32000"/>
                    </a:cubicBezTo>
                    <a:cubicBezTo>
                      <a:pt x="56445" y="36000"/>
                      <a:pt x="56445" y="36000"/>
                      <a:pt x="56445" y="36000"/>
                    </a:cubicBezTo>
                    <a:cubicBezTo>
                      <a:pt x="53937" y="37777"/>
                      <a:pt x="53937" y="37777"/>
                      <a:pt x="53937" y="37777"/>
                    </a:cubicBezTo>
                    <a:cubicBezTo>
                      <a:pt x="53519" y="37333"/>
                      <a:pt x="53519" y="37333"/>
                      <a:pt x="53519" y="37333"/>
                    </a:cubicBezTo>
                    <a:cubicBezTo>
                      <a:pt x="54355" y="35555"/>
                      <a:pt x="54355" y="35555"/>
                      <a:pt x="54355" y="35555"/>
                    </a:cubicBezTo>
                    <a:cubicBezTo>
                      <a:pt x="55609" y="34222"/>
                      <a:pt x="55609" y="34222"/>
                      <a:pt x="55609" y="34222"/>
                    </a:cubicBezTo>
                    <a:cubicBezTo>
                      <a:pt x="54773" y="32888"/>
                      <a:pt x="54773" y="32888"/>
                      <a:pt x="54773" y="32888"/>
                    </a:cubicBezTo>
                    <a:cubicBezTo>
                      <a:pt x="53101" y="33777"/>
                      <a:pt x="53101" y="33777"/>
                      <a:pt x="53101" y="33777"/>
                    </a:cubicBezTo>
                    <a:cubicBezTo>
                      <a:pt x="52264" y="34222"/>
                      <a:pt x="52264" y="34222"/>
                      <a:pt x="52264" y="34222"/>
                    </a:cubicBezTo>
                    <a:cubicBezTo>
                      <a:pt x="51428" y="36000"/>
                      <a:pt x="51428" y="36000"/>
                      <a:pt x="51428" y="36000"/>
                    </a:cubicBezTo>
                    <a:cubicBezTo>
                      <a:pt x="50592" y="36444"/>
                      <a:pt x="50592" y="36444"/>
                      <a:pt x="50592" y="36444"/>
                    </a:cubicBezTo>
                    <a:cubicBezTo>
                      <a:pt x="50174" y="36444"/>
                      <a:pt x="50174" y="36444"/>
                      <a:pt x="50174" y="36444"/>
                    </a:cubicBezTo>
                    <a:cubicBezTo>
                      <a:pt x="49337" y="33333"/>
                      <a:pt x="49337" y="33333"/>
                      <a:pt x="49337" y="33333"/>
                    </a:cubicBezTo>
                    <a:cubicBezTo>
                      <a:pt x="48919" y="33333"/>
                      <a:pt x="48919" y="33333"/>
                      <a:pt x="48919" y="33333"/>
                    </a:cubicBezTo>
                    <a:cubicBezTo>
                      <a:pt x="48083" y="36000"/>
                      <a:pt x="48083" y="36000"/>
                      <a:pt x="48083" y="36000"/>
                    </a:cubicBezTo>
                    <a:cubicBezTo>
                      <a:pt x="47665" y="37777"/>
                      <a:pt x="47665" y="37777"/>
                      <a:pt x="47665" y="37777"/>
                    </a:cubicBezTo>
                    <a:cubicBezTo>
                      <a:pt x="45993" y="40000"/>
                      <a:pt x="45993" y="40000"/>
                      <a:pt x="45993" y="40000"/>
                    </a:cubicBezTo>
                    <a:cubicBezTo>
                      <a:pt x="44738" y="44888"/>
                      <a:pt x="44738" y="44888"/>
                      <a:pt x="44738" y="44888"/>
                    </a:cubicBezTo>
                    <a:cubicBezTo>
                      <a:pt x="43902" y="47555"/>
                      <a:pt x="43902" y="47555"/>
                      <a:pt x="43902" y="47555"/>
                    </a:cubicBezTo>
                    <a:cubicBezTo>
                      <a:pt x="41393" y="49777"/>
                      <a:pt x="41393" y="49777"/>
                      <a:pt x="41393" y="49777"/>
                    </a:cubicBezTo>
                    <a:cubicBezTo>
                      <a:pt x="40557" y="48000"/>
                      <a:pt x="40557" y="48000"/>
                      <a:pt x="40557" y="48000"/>
                    </a:cubicBezTo>
                    <a:cubicBezTo>
                      <a:pt x="40139" y="44888"/>
                      <a:pt x="40139" y="44888"/>
                      <a:pt x="40139" y="44888"/>
                    </a:cubicBezTo>
                    <a:cubicBezTo>
                      <a:pt x="39721" y="44444"/>
                      <a:pt x="39721" y="44444"/>
                      <a:pt x="39721" y="44444"/>
                    </a:cubicBezTo>
                    <a:cubicBezTo>
                      <a:pt x="38885" y="43111"/>
                      <a:pt x="38885" y="43111"/>
                      <a:pt x="38885" y="43111"/>
                    </a:cubicBezTo>
                    <a:cubicBezTo>
                      <a:pt x="39303" y="41777"/>
                      <a:pt x="39303" y="41777"/>
                      <a:pt x="39303" y="41777"/>
                    </a:cubicBezTo>
                    <a:cubicBezTo>
                      <a:pt x="38885" y="39111"/>
                      <a:pt x="38885" y="39111"/>
                      <a:pt x="38885" y="39111"/>
                    </a:cubicBezTo>
                    <a:cubicBezTo>
                      <a:pt x="37630" y="37777"/>
                      <a:pt x="37630" y="37777"/>
                      <a:pt x="37630" y="37777"/>
                    </a:cubicBezTo>
                    <a:cubicBezTo>
                      <a:pt x="35121" y="36000"/>
                      <a:pt x="35121" y="36000"/>
                      <a:pt x="35121" y="36000"/>
                    </a:cubicBezTo>
                    <a:cubicBezTo>
                      <a:pt x="34285" y="34222"/>
                      <a:pt x="34285" y="34222"/>
                      <a:pt x="34285" y="34222"/>
                    </a:cubicBezTo>
                    <a:cubicBezTo>
                      <a:pt x="31358" y="33777"/>
                      <a:pt x="31358" y="33777"/>
                      <a:pt x="31358" y="33777"/>
                    </a:cubicBezTo>
                    <a:cubicBezTo>
                      <a:pt x="27595" y="33777"/>
                      <a:pt x="27595" y="33777"/>
                      <a:pt x="27595" y="33777"/>
                    </a:cubicBezTo>
                    <a:cubicBezTo>
                      <a:pt x="26759" y="32888"/>
                      <a:pt x="26759" y="32888"/>
                      <a:pt x="26759" y="32888"/>
                    </a:cubicBezTo>
                    <a:cubicBezTo>
                      <a:pt x="24250" y="32888"/>
                      <a:pt x="24250" y="32888"/>
                      <a:pt x="24250" y="32888"/>
                    </a:cubicBezTo>
                    <a:cubicBezTo>
                      <a:pt x="20905" y="32444"/>
                      <a:pt x="20905" y="32444"/>
                      <a:pt x="20905" y="32444"/>
                    </a:cubicBezTo>
                    <a:cubicBezTo>
                      <a:pt x="20487" y="31555"/>
                      <a:pt x="20487" y="31555"/>
                      <a:pt x="20487" y="31555"/>
                    </a:cubicBezTo>
                    <a:cubicBezTo>
                      <a:pt x="17979" y="30222"/>
                      <a:pt x="17979" y="30222"/>
                      <a:pt x="17979" y="30222"/>
                    </a:cubicBezTo>
                    <a:cubicBezTo>
                      <a:pt x="15052" y="29777"/>
                      <a:pt x="15052" y="29777"/>
                      <a:pt x="15052" y="29777"/>
                    </a:cubicBezTo>
                    <a:cubicBezTo>
                      <a:pt x="12125" y="28888"/>
                      <a:pt x="12125" y="28888"/>
                      <a:pt x="12125" y="28888"/>
                    </a:cubicBezTo>
                    <a:cubicBezTo>
                      <a:pt x="8780" y="27555"/>
                      <a:pt x="8780" y="27555"/>
                      <a:pt x="8780" y="27555"/>
                    </a:cubicBezTo>
                    <a:cubicBezTo>
                      <a:pt x="6689" y="26222"/>
                      <a:pt x="6689" y="26222"/>
                      <a:pt x="6689" y="26222"/>
                    </a:cubicBezTo>
                    <a:cubicBezTo>
                      <a:pt x="5017" y="26222"/>
                      <a:pt x="5017" y="26222"/>
                      <a:pt x="5017" y="26222"/>
                    </a:cubicBezTo>
                    <a:cubicBezTo>
                      <a:pt x="4599" y="26222"/>
                      <a:pt x="4599" y="26222"/>
                      <a:pt x="4599" y="26222"/>
                    </a:cubicBezTo>
                    <a:cubicBezTo>
                      <a:pt x="3763" y="25333"/>
                      <a:pt x="3763" y="25333"/>
                      <a:pt x="3763" y="25333"/>
                    </a:cubicBezTo>
                    <a:cubicBezTo>
                      <a:pt x="2926" y="24000"/>
                      <a:pt x="2926" y="24000"/>
                      <a:pt x="2926" y="24000"/>
                    </a:cubicBezTo>
                    <a:cubicBezTo>
                      <a:pt x="0" y="23111"/>
                      <a:pt x="0" y="23111"/>
                      <a:pt x="0" y="23111"/>
                    </a:cubicBezTo>
                    <a:lnTo>
                      <a:pt x="0" y="22666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96" name="Shape 1431">
                <a:extLst>
                  <a:ext uri="{FF2B5EF4-FFF2-40B4-BE49-F238E27FC236}">
                    <a16:creationId xmlns:a16="http://schemas.microsoft.com/office/drawing/2014/main" id="{3B28A899-BA30-4B8E-888B-86F57796B3DB}"/>
                  </a:ext>
                </a:extLst>
              </p:cNvPr>
              <p:cNvSpPr/>
              <p:nvPr/>
            </p:nvSpPr>
            <p:spPr>
              <a:xfrm>
                <a:off x="8566054" y="2085335"/>
                <a:ext cx="694289" cy="739411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06268" y="38873"/>
                    </a:moveTo>
                    <a:cubicBezTo>
                      <a:pt x="105671" y="38309"/>
                      <a:pt x="105671" y="38309"/>
                      <a:pt x="105671" y="38309"/>
                    </a:cubicBezTo>
                    <a:cubicBezTo>
                      <a:pt x="104477" y="36619"/>
                      <a:pt x="104477" y="36619"/>
                      <a:pt x="104477" y="36619"/>
                    </a:cubicBezTo>
                    <a:cubicBezTo>
                      <a:pt x="105074" y="34929"/>
                      <a:pt x="105074" y="34929"/>
                      <a:pt x="105074" y="34929"/>
                    </a:cubicBezTo>
                    <a:cubicBezTo>
                      <a:pt x="104477" y="31549"/>
                      <a:pt x="104477" y="31549"/>
                      <a:pt x="104477" y="31549"/>
                    </a:cubicBezTo>
                    <a:cubicBezTo>
                      <a:pt x="102686" y="29859"/>
                      <a:pt x="102686" y="29859"/>
                      <a:pt x="102686" y="29859"/>
                    </a:cubicBezTo>
                    <a:cubicBezTo>
                      <a:pt x="99104" y="27605"/>
                      <a:pt x="99104" y="27605"/>
                      <a:pt x="99104" y="27605"/>
                    </a:cubicBezTo>
                    <a:cubicBezTo>
                      <a:pt x="97910" y="25352"/>
                      <a:pt x="97910" y="25352"/>
                      <a:pt x="97910" y="25352"/>
                    </a:cubicBezTo>
                    <a:cubicBezTo>
                      <a:pt x="93731" y="24788"/>
                      <a:pt x="93731" y="24788"/>
                      <a:pt x="93731" y="24788"/>
                    </a:cubicBezTo>
                    <a:cubicBezTo>
                      <a:pt x="88358" y="24788"/>
                      <a:pt x="88358" y="24788"/>
                      <a:pt x="88358" y="24788"/>
                    </a:cubicBezTo>
                    <a:cubicBezTo>
                      <a:pt x="87164" y="23661"/>
                      <a:pt x="87164" y="23661"/>
                      <a:pt x="87164" y="23661"/>
                    </a:cubicBezTo>
                    <a:cubicBezTo>
                      <a:pt x="83582" y="23661"/>
                      <a:pt x="83582" y="23661"/>
                      <a:pt x="83582" y="23661"/>
                    </a:cubicBezTo>
                    <a:cubicBezTo>
                      <a:pt x="78805" y="23098"/>
                      <a:pt x="78805" y="23098"/>
                      <a:pt x="78805" y="23098"/>
                    </a:cubicBezTo>
                    <a:cubicBezTo>
                      <a:pt x="78208" y="21971"/>
                      <a:pt x="78208" y="21971"/>
                      <a:pt x="78208" y="21971"/>
                    </a:cubicBezTo>
                    <a:cubicBezTo>
                      <a:pt x="74626" y="20281"/>
                      <a:pt x="74626" y="20281"/>
                      <a:pt x="74626" y="20281"/>
                    </a:cubicBezTo>
                    <a:cubicBezTo>
                      <a:pt x="70447" y="19718"/>
                      <a:pt x="70447" y="19718"/>
                      <a:pt x="70447" y="19718"/>
                    </a:cubicBezTo>
                    <a:cubicBezTo>
                      <a:pt x="66268" y="18591"/>
                      <a:pt x="66268" y="18591"/>
                      <a:pt x="66268" y="18591"/>
                    </a:cubicBezTo>
                    <a:cubicBezTo>
                      <a:pt x="61492" y="16901"/>
                      <a:pt x="61492" y="16901"/>
                      <a:pt x="61492" y="16901"/>
                    </a:cubicBezTo>
                    <a:cubicBezTo>
                      <a:pt x="58507" y="15211"/>
                      <a:pt x="58507" y="15211"/>
                      <a:pt x="58507" y="15211"/>
                    </a:cubicBezTo>
                    <a:cubicBezTo>
                      <a:pt x="56119" y="15211"/>
                      <a:pt x="56119" y="15211"/>
                      <a:pt x="56119" y="15211"/>
                    </a:cubicBezTo>
                    <a:cubicBezTo>
                      <a:pt x="55522" y="15211"/>
                      <a:pt x="55522" y="15211"/>
                      <a:pt x="55522" y="15211"/>
                    </a:cubicBezTo>
                    <a:cubicBezTo>
                      <a:pt x="54328" y="14084"/>
                      <a:pt x="54328" y="14084"/>
                      <a:pt x="54328" y="14084"/>
                    </a:cubicBezTo>
                    <a:cubicBezTo>
                      <a:pt x="53134" y="12394"/>
                      <a:pt x="53134" y="12394"/>
                      <a:pt x="53134" y="12394"/>
                    </a:cubicBezTo>
                    <a:cubicBezTo>
                      <a:pt x="48955" y="11267"/>
                      <a:pt x="48955" y="11267"/>
                      <a:pt x="48955" y="11267"/>
                    </a:cubicBezTo>
                    <a:cubicBezTo>
                      <a:pt x="48955" y="11267"/>
                      <a:pt x="48955" y="11267"/>
                      <a:pt x="48955" y="11267"/>
                    </a:cubicBezTo>
                    <a:cubicBezTo>
                      <a:pt x="48358" y="11267"/>
                      <a:pt x="48358" y="11267"/>
                      <a:pt x="48358" y="11267"/>
                    </a:cubicBezTo>
                    <a:cubicBezTo>
                      <a:pt x="46567" y="10140"/>
                      <a:pt x="46567" y="10140"/>
                      <a:pt x="46567" y="10140"/>
                    </a:cubicBezTo>
                    <a:cubicBezTo>
                      <a:pt x="44776" y="9014"/>
                      <a:pt x="44776" y="9014"/>
                      <a:pt x="44776" y="9014"/>
                    </a:cubicBezTo>
                    <a:cubicBezTo>
                      <a:pt x="42985" y="8450"/>
                      <a:pt x="42985" y="8450"/>
                      <a:pt x="42985" y="8450"/>
                    </a:cubicBezTo>
                    <a:cubicBezTo>
                      <a:pt x="41791" y="9577"/>
                      <a:pt x="41791" y="9577"/>
                      <a:pt x="41791" y="9577"/>
                    </a:cubicBezTo>
                    <a:cubicBezTo>
                      <a:pt x="40000" y="10140"/>
                      <a:pt x="40000" y="10140"/>
                      <a:pt x="40000" y="10140"/>
                    </a:cubicBezTo>
                    <a:cubicBezTo>
                      <a:pt x="39402" y="9577"/>
                      <a:pt x="39402" y="9577"/>
                      <a:pt x="39402" y="9577"/>
                    </a:cubicBezTo>
                    <a:cubicBezTo>
                      <a:pt x="40000" y="8450"/>
                      <a:pt x="40000" y="8450"/>
                      <a:pt x="40000" y="8450"/>
                    </a:cubicBezTo>
                    <a:cubicBezTo>
                      <a:pt x="40597" y="5070"/>
                      <a:pt x="40597" y="5070"/>
                      <a:pt x="40597" y="5070"/>
                    </a:cubicBezTo>
                    <a:cubicBezTo>
                      <a:pt x="41194" y="3943"/>
                      <a:pt x="41194" y="3943"/>
                      <a:pt x="41194" y="3943"/>
                    </a:cubicBezTo>
                    <a:cubicBezTo>
                      <a:pt x="41791" y="1126"/>
                      <a:pt x="41791" y="1126"/>
                      <a:pt x="41791" y="1126"/>
                    </a:cubicBezTo>
                    <a:cubicBezTo>
                      <a:pt x="40000" y="0"/>
                      <a:pt x="40000" y="0"/>
                      <a:pt x="40000" y="0"/>
                    </a:cubicBezTo>
                    <a:cubicBezTo>
                      <a:pt x="38805" y="563"/>
                      <a:pt x="38805" y="563"/>
                      <a:pt x="38805" y="563"/>
                    </a:cubicBezTo>
                    <a:cubicBezTo>
                      <a:pt x="36417" y="1690"/>
                      <a:pt x="36417" y="1690"/>
                      <a:pt x="36417" y="1690"/>
                    </a:cubicBezTo>
                    <a:cubicBezTo>
                      <a:pt x="34029" y="2253"/>
                      <a:pt x="34029" y="2253"/>
                      <a:pt x="34029" y="2253"/>
                    </a:cubicBezTo>
                    <a:cubicBezTo>
                      <a:pt x="31044" y="3380"/>
                      <a:pt x="31044" y="3380"/>
                      <a:pt x="31044" y="3380"/>
                    </a:cubicBezTo>
                    <a:cubicBezTo>
                      <a:pt x="28059" y="5070"/>
                      <a:pt x="28059" y="5070"/>
                      <a:pt x="28059" y="5070"/>
                    </a:cubicBezTo>
                    <a:cubicBezTo>
                      <a:pt x="23283" y="7323"/>
                      <a:pt x="23283" y="7323"/>
                      <a:pt x="23283" y="7323"/>
                    </a:cubicBezTo>
                    <a:cubicBezTo>
                      <a:pt x="22089" y="9014"/>
                      <a:pt x="22089" y="9014"/>
                      <a:pt x="22089" y="9014"/>
                    </a:cubicBezTo>
                    <a:cubicBezTo>
                      <a:pt x="19701" y="9014"/>
                      <a:pt x="19701" y="9014"/>
                      <a:pt x="19701" y="9014"/>
                    </a:cubicBezTo>
                    <a:cubicBezTo>
                      <a:pt x="16716" y="7887"/>
                      <a:pt x="16716" y="7887"/>
                      <a:pt x="16716" y="7887"/>
                    </a:cubicBezTo>
                    <a:cubicBezTo>
                      <a:pt x="14925" y="6197"/>
                      <a:pt x="14925" y="6197"/>
                      <a:pt x="14925" y="6197"/>
                    </a:cubicBezTo>
                    <a:cubicBezTo>
                      <a:pt x="12537" y="8450"/>
                      <a:pt x="12537" y="8450"/>
                      <a:pt x="12537" y="8450"/>
                    </a:cubicBezTo>
                    <a:cubicBezTo>
                      <a:pt x="11940" y="24225"/>
                      <a:pt x="11940" y="24225"/>
                      <a:pt x="11940" y="24225"/>
                    </a:cubicBezTo>
                    <a:cubicBezTo>
                      <a:pt x="4179" y="28732"/>
                      <a:pt x="4179" y="28732"/>
                      <a:pt x="4179" y="28732"/>
                    </a:cubicBezTo>
                    <a:cubicBezTo>
                      <a:pt x="2985" y="30985"/>
                      <a:pt x="2985" y="30985"/>
                      <a:pt x="2985" y="30985"/>
                    </a:cubicBezTo>
                    <a:cubicBezTo>
                      <a:pt x="0" y="37183"/>
                      <a:pt x="0" y="37183"/>
                      <a:pt x="0" y="37183"/>
                    </a:cubicBezTo>
                    <a:cubicBezTo>
                      <a:pt x="2985" y="40563"/>
                      <a:pt x="2985" y="40563"/>
                      <a:pt x="2985" y="40563"/>
                    </a:cubicBezTo>
                    <a:cubicBezTo>
                      <a:pt x="4179" y="40563"/>
                      <a:pt x="4179" y="40563"/>
                      <a:pt x="4179" y="40563"/>
                    </a:cubicBezTo>
                    <a:cubicBezTo>
                      <a:pt x="2985" y="50140"/>
                      <a:pt x="2985" y="50140"/>
                      <a:pt x="2985" y="50140"/>
                    </a:cubicBezTo>
                    <a:cubicBezTo>
                      <a:pt x="2388" y="60281"/>
                      <a:pt x="2388" y="60281"/>
                      <a:pt x="2388" y="60281"/>
                    </a:cubicBezTo>
                    <a:cubicBezTo>
                      <a:pt x="5970" y="63098"/>
                      <a:pt x="5970" y="63098"/>
                      <a:pt x="5970" y="63098"/>
                    </a:cubicBezTo>
                    <a:cubicBezTo>
                      <a:pt x="11343" y="65915"/>
                      <a:pt x="11343" y="65915"/>
                      <a:pt x="11343" y="65915"/>
                    </a:cubicBezTo>
                    <a:cubicBezTo>
                      <a:pt x="19701" y="70422"/>
                      <a:pt x="19701" y="70422"/>
                      <a:pt x="19701" y="70422"/>
                    </a:cubicBezTo>
                    <a:cubicBezTo>
                      <a:pt x="25074" y="76056"/>
                      <a:pt x="25074" y="76056"/>
                      <a:pt x="25074" y="76056"/>
                    </a:cubicBezTo>
                    <a:cubicBezTo>
                      <a:pt x="26865" y="78309"/>
                      <a:pt x="26865" y="78309"/>
                      <a:pt x="26865" y="78309"/>
                    </a:cubicBezTo>
                    <a:cubicBezTo>
                      <a:pt x="31044" y="81126"/>
                      <a:pt x="31044" y="81126"/>
                      <a:pt x="31044" y="81126"/>
                    </a:cubicBezTo>
                    <a:cubicBezTo>
                      <a:pt x="35820" y="85633"/>
                      <a:pt x="35820" y="85633"/>
                      <a:pt x="35820" y="85633"/>
                    </a:cubicBezTo>
                    <a:cubicBezTo>
                      <a:pt x="36417" y="89577"/>
                      <a:pt x="36417" y="89577"/>
                      <a:pt x="36417" y="89577"/>
                    </a:cubicBezTo>
                    <a:cubicBezTo>
                      <a:pt x="35820" y="93521"/>
                      <a:pt x="35820" y="93521"/>
                      <a:pt x="35820" y="93521"/>
                    </a:cubicBezTo>
                    <a:cubicBezTo>
                      <a:pt x="37611" y="97464"/>
                      <a:pt x="37611" y="97464"/>
                      <a:pt x="37611" y="97464"/>
                    </a:cubicBezTo>
                    <a:cubicBezTo>
                      <a:pt x="38805" y="99154"/>
                      <a:pt x="38805" y="99154"/>
                      <a:pt x="38805" y="99154"/>
                    </a:cubicBezTo>
                    <a:cubicBezTo>
                      <a:pt x="38805" y="103098"/>
                      <a:pt x="38805" y="103098"/>
                      <a:pt x="38805" y="103098"/>
                    </a:cubicBezTo>
                    <a:cubicBezTo>
                      <a:pt x="38805" y="105352"/>
                      <a:pt x="38805" y="105352"/>
                      <a:pt x="38805" y="105352"/>
                    </a:cubicBezTo>
                    <a:cubicBezTo>
                      <a:pt x="38805" y="108732"/>
                      <a:pt x="38805" y="108732"/>
                      <a:pt x="38805" y="108732"/>
                    </a:cubicBezTo>
                    <a:cubicBezTo>
                      <a:pt x="40000" y="111549"/>
                      <a:pt x="40000" y="111549"/>
                      <a:pt x="40000" y="111549"/>
                    </a:cubicBezTo>
                    <a:cubicBezTo>
                      <a:pt x="40000" y="114366"/>
                      <a:pt x="40000" y="114366"/>
                      <a:pt x="40000" y="114366"/>
                    </a:cubicBezTo>
                    <a:cubicBezTo>
                      <a:pt x="42985" y="114366"/>
                      <a:pt x="42985" y="114366"/>
                      <a:pt x="42985" y="114366"/>
                    </a:cubicBezTo>
                    <a:cubicBezTo>
                      <a:pt x="42985" y="114366"/>
                      <a:pt x="45373" y="116619"/>
                      <a:pt x="45970" y="116619"/>
                    </a:cubicBezTo>
                    <a:cubicBezTo>
                      <a:pt x="46567" y="116619"/>
                      <a:pt x="48955" y="117746"/>
                      <a:pt x="48955" y="117746"/>
                    </a:cubicBezTo>
                    <a:cubicBezTo>
                      <a:pt x="50746" y="119999"/>
                      <a:pt x="50746" y="119999"/>
                      <a:pt x="50746" y="119999"/>
                    </a:cubicBezTo>
                    <a:cubicBezTo>
                      <a:pt x="109850" y="116619"/>
                      <a:pt x="109850" y="116619"/>
                      <a:pt x="109850" y="116619"/>
                    </a:cubicBezTo>
                    <a:cubicBezTo>
                      <a:pt x="109850" y="109859"/>
                      <a:pt x="109850" y="109859"/>
                      <a:pt x="109850" y="109859"/>
                    </a:cubicBezTo>
                    <a:cubicBezTo>
                      <a:pt x="109850" y="107605"/>
                      <a:pt x="109850" y="107605"/>
                      <a:pt x="109850" y="107605"/>
                    </a:cubicBezTo>
                    <a:cubicBezTo>
                      <a:pt x="106865" y="100845"/>
                      <a:pt x="106865" y="100845"/>
                      <a:pt x="106865" y="100845"/>
                    </a:cubicBezTo>
                    <a:cubicBezTo>
                      <a:pt x="106268" y="96901"/>
                      <a:pt x="106268" y="96901"/>
                      <a:pt x="106268" y="96901"/>
                    </a:cubicBezTo>
                    <a:cubicBezTo>
                      <a:pt x="106865" y="92394"/>
                      <a:pt x="106865" y="92394"/>
                      <a:pt x="106865" y="92394"/>
                    </a:cubicBezTo>
                    <a:cubicBezTo>
                      <a:pt x="108059" y="89014"/>
                      <a:pt x="108059" y="89014"/>
                      <a:pt x="108059" y="89014"/>
                    </a:cubicBezTo>
                    <a:cubicBezTo>
                      <a:pt x="108656" y="87323"/>
                      <a:pt x="108656" y="87323"/>
                      <a:pt x="108656" y="87323"/>
                    </a:cubicBezTo>
                    <a:cubicBezTo>
                      <a:pt x="109850" y="85633"/>
                      <a:pt x="109850" y="85633"/>
                      <a:pt x="109850" y="85633"/>
                    </a:cubicBezTo>
                    <a:cubicBezTo>
                      <a:pt x="108656" y="82816"/>
                      <a:pt x="108656" y="82816"/>
                      <a:pt x="108656" y="82816"/>
                    </a:cubicBezTo>
                    <a:cubicBezTo>
                      <a:pt x="108656" y="78873"/>
                      <a:pt x="108656" y="78873"/>
                      <a:pt x="108656" y="78873"/>
                    </a:cubicBezTo>
                    <a:cubicBezTo>
                      <a:pt x="108656" y="76619"/>
                      <a:pt x="108656" y="76619"/>
                      <a:pt x="108656" y="76619"/>
                    </a:cubicBezTo>
                    <a:cubicBezTo>
                      <a:pt x="109850" y="74929"/>
                      <a:pt x="109850" y="74929"/>
                      <a:pt x="109850" y="74929"/>
                    </a:cubicBezTo>
                    <a:cubicBezTo>
                      <a:pt x="109850" y="73802"/>
                      <a:pt x="109850" y="73802"/>
                      <a:pt x="109850" y="73802"/>
                    </a:cubicBezTo>
                    <a:cubicBezTo>
                      <a:pt x="112238" y="71549"/>
                      <a:pt x="112238" y="71549"/>
                      <a:pt x="112238" y="71549"/>
                    </a:cubicBezTo>
                    <a:cubicBezTo>
                      <a:pt x="112238" y="70422"/>
                      <a:pt x="112238" y="70422"/>
                      <a:pt x="112238" y="70422"/>
                    </a:cubicBezTo>
                    <a:cubicBezTo>
                      <a:pt x="111044" y="68169"/>
                      <a:pt x="111044" y="68169"/>
                      <a:pt x="111044" y="68169"/>
                    </a:cubicBezTo>
                    <a:cubicBezTo>
                      <a:pt x="111044" y="66478"/>
                      <a:pt x="111044" y="66478"/>
                      <a:pt x="111044" y="66478"/>
                    </a:cubicBezTo>
                    <a:cubicBezTo>
                      <a:pt x="111641" y="61971"/>
                      <a:pt x="111641" y="61971"/>
                      <a:pt x="111641" y="61971"/>
                    </a:cubicBezTo>
                    <a:cubicBezTo>
                      <a:pt x="112238" y="59154"/>
                      <a:pt x="112238" y="59154"/>
                      <a:pt x="112238" y="59154"/>
                    </a:cubicBezTo>
                    <a:cubicBezTo>
                      <a:pt x="114029" y="55774"/>
                      <a:pt x="114029" y="55774"/>
                      <a:pt x="114029" y="55774"/>
                    </a:cubicBezTo>
                    <a:cubicBezTo>
                      <a:pt x="117014" y="50140"/>
                      <a:pt x="117014" y="50140"/>
                      <a:pt x="117014" y="50140"/>
                    </a:cubicBezTo>
                    <a:cubicBezTo>
                      <a:pt x="117611" y="47887"/>
                      <a:pt x="117611" y="47887"/>
                      <a:pt x="117611" y="47887"/>
                    </a:cubicBezTo>
                    <a:cubicBezTo>
                      <a:pt x="117611" y="46197"/>
                      <a:pt x="117611" y="46197"/>
                      <a:pt x="117611" y="46197"/>
                    </a:cubicBezTo>
                    <a:cubicBezTo>
                      <a:pt x="120000" y="45633"/>
                      <a:pt x="120000" y="45633"/>
                      <a:pt x="120000" y="45633"/>
                    </a:cubicBezTo>
                    <a:cubicBezTo>
                      <a:pt x="120000" y="44507"/>
                      <a:pt x="120000" y="44507"/>
                      <a:pt x="120000" y="44507"/>
                    </a:cubicBezTo>
                    <a:cubicBezTo>
                      <a:pt x="120000" y="43380"/>
                      <a:pt x="120000" y="43380"/>
                      <a:pt x="120000" y="43380"/>
                    </a:cubicBezTo>
                    <a:cubicBezTo>
                      <a:pt x="120000" y="42253"/>
                      <a:pt x="120000" y="42253"/>
                      <a:pt x="120000" y="42253"/>
                    </a:cubicBezTo>
                    <a:cubicBezTo>
                      <a:pt x="120000" y="41126"/>
                      <a:pt x="120000" y="41126"/>
                      <a:pt x="120000" y="41126"/>
                    </a:cubicBezTo>
                    <a:cubicBezTo>
                      <a:pt x="120000" y="40000"/>
                      <a:pt x="120000" y="40000"/>
                      <a:pt x="120000" y="40000"/>
                    </a:cubicBezTo>
                    <a:cubicBezTo>
                      <a:pt x="117611" y="42253"/>
                      <a:pt x="117611" y="42253"/>
                      <a:pt x="117611" y="42253"/>
                    </a:cubicBezTo>
                    <a:cubicBezTo>
                      <a:pt x="115820" y="44507"/>
                      <a:pt x="115820" y="44507"/>
                      <a:pt x="115820" y="44507"/>
                    </a:cubicBezTo>
                    <a:cubicBezTo>
                      <a:pt x="115223" y="47323"/>
                      <a:pt x="115223" y="47323"/>
                      <a:pt x="115223" y="47323"/>
                    </a:cubicBezTo>
                    <a:cubicBezTo>
                      <a:pt x="113432" y="50704"/>
                      <a:pt x="113432" y="50704"/>
                      <a:pt x="113432" y="50704"/>
                    </a:cubicBezTo>
                    <a:cubicBezTo>
                      <a:pt x="111641" y="51830"/>
                      <a:pt x="111641" y="51830"/>
                      <a:pt x="111641" y="51830"/>
                    </a:cubicBezTo>
                    <a:cubicBezTo>
                      <a:pt x="108059" y="53521"/>
                      <a:pt x="108059" y="53521"/>
                      <a:pt x="108059" y="53521"/>
                    </a:cubicBezTo>
                    <a:cubicBezTo>
                      <a:pt x="106268" y="55774"/>
                      <a:pt x="106268" y="55774"/>
                      <a:pt x="106268" y="55774"/>
                    </a:cubicBezTo>
                    <a:cubicBezTo>
                      <a:pt x="105671" y="56901"/>
                      <a:pt x="105671" y="56901"/>
                      <a:pt x="105671" y="56901"/>
                    </a:cubicBezTo>
                    <a:cubicBezTo>
                      <a:pt x="104477" y="59154"/>
                      <a:pt x="104477" y="59154"/>
                      <a:pt x="104477" y="59154"/>
                    </a:cubicBezTo>
                    <a:cubicBezTo>
                      <a:pt x="102089" y="61971"/>
                      <a:pt x="102089" y="61971"/>
                      <a:pt x="102089" y="61971"/>
                    </a:cubicBezTo>
                    <a:cubicBezTo>
                      <a:pt x="100298" y="60281"/>
                      <a:pt x="100298" y="60281"/>
                      <a:pt x="100298" y="60281"/>
                    </a:cubicBezTo>
                    <a:cubicBezTo>
                      <a:pt x="102089" y="58028"/>
                      <a:pt x="102089" y="58028"/>
                      <a:pt x="102089" y="58028"/>
                    </a:cubicBezTo>
                    <a:cubicBezTo>
                      <a:pt x="103283" y="54084"/>
                      <a:pt x="103283" y="54084"/>
                      <a:pt x="103283" y="54084"/>
                    </a:cubicBezTo>
                    <a:cubicBezTo>
                      <a:pt x="103880" y="52394"/>
                      <a:pt x="103880" y="52394"/>
                      <a:pt x="103880" y="52394"/>
                    </a:cubicBezTo>
                    <a:cubicBezTo>
                      <a:pt x="104477" y="51267"/>
                      <a:pt x="104477" y="51267"/>
                      <a:pt x="104477" y="51267"/>
                    </a:cubicBezTo>
                    <a:cubicBezTo>
                      <a:pt x="105671" y="50140"/>
                      <a:pt x="105671" y="50140"/>
                      <a:pt x="105671" y="50140"/>
                    </a:cubicBezTo>
                    <a:cubicBezTo>
                      <a:pt x="106865" y="49014"/>
                      <a:pt x="106865" y="49014"/>
                      <a:pt x="106865" y="49014"/>
                    </a:cubicBezTo>
                    <a:cubicBezTo>
                      <a:pt x="107462" y="47887"/>
                      <a:pt x="107462" y="47887"/>
                      <a:pt x="107462" y="47887"/>
                    </a:cubicBezTo>
                    <a:cubicBezTo>
                      <a:pt x="106865" y="45070"/>
                      <a:pt x="106865" y="45070"/>
                      <a:pt x="106865" y="45070"/>
                    </a:cubicBezTo>
                    <a:cubicBezTo>
                      <a:pt x="107462" y="43943"/>
                      <a:pt x="107462" y="43943"/>
                      <a:pt x="107462" y="43943"/>
                    </a:cubicBezTo>
                    <a:cubicBezTo>
                      <a:pt x="106865" y="42816"/>
                      <a:pt x="106865" y="42816"/>
                      <a:pt x="106865" y="42816"/>
                    </a:cubicBezTo>
                    <a:lnTo>
                      <a:pt x="106268" y="38873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97" name="Shape 1432">
                <a:extLst>
                  <a:ext uri="{FF2B5EF4-FFF2-40B4-BE49-F238E27FC236}">
                    <a16:creationId xmlns:a16="http://schemas.microsoft.com/office/drawing/2014/main" id="{12BA7FCD-7ADC-47A9-B876-57F6DB399B86}"/>
                  </a:ext>
                </a:extLst>
              </p:cNvPr>
              <p:cNvSpPr/>
              <p:nvPr/>
            </p:nvSpPr>
            <p:spPr>
              <a:xfrm>
                <a:off x="9582990" y="2783891"/>
                <a:ext cx="555433" cy="637281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106764" y="3846"/>
                    </a:moveTo>
                    <a:lnTo>
                      <a:pt x="100588" y="6153"/>
                    </a:lnTo>
                    <a:lnTo>
                      <a:pt x="95294" y="10000"/>
                    </a:lnTo>
                    <a:lnTo>
                      <a:pt x="89117" y="13076"/>
                    </a:lnTo>
                    <a:lnTo>
                      <a:pt x="84705" y="16153"/>
                    </a:lnTo>
                    <a:lnTo>
                      <a:pt x="82058" y="16923"/>
                    </a:lnTo>
                    <a:lnTo>
                      <a:pt x="80294" y="18461"/>
                    </a:lnTo>
                    <a:lnTo>
                      <a:pt x="77647" y="20769"/>
                    </a:lnTo>
                    <a:lnTo>
                      <a:pt x="75000" y="20769"/>
                    </a:lnTo>
                    <a:lnTo>
                      <a:pt x="72352" y="20769"/>
                    </a:lnTo>
                    <a:lnTo>
                      <a:pt x="68823" y="22307"/>
                    </a:lnTo>
                    <a:lnTo>
                      <a:pt x="65294" y="25384"/>
                    </a:lnTo>
                    <a:lnTo>
                      <a:pt x="62647" y="25384"/>
                    </a:lnTo>
                    <a:lnTo>
                      <a:pt x="60882" y="25384"/>
                    </a:lnTo>
                    <a:lnTo>
                      <a:pt x="60000" y="25384"/>
                    </a:lnTo>
                    <a:lnTo>
                      <a:pt x="57352" y="23846"/>
                    </a:lnTo>
                    <a:lnTo>
                      <a:pt x="54705" y="21538"/>
                    </a:lnTo>
                    <a:lnTo>
                      <a:pt x="52941" y="22307"/>
                    </a:lnTo>
                    <a:lnTo>
                      <a:pt x="49411" y="21538"/>
                    </a:lnTo>
                    <a:lnTo>
                      <a:pt x="48529" y="20769"/>
                    </a:lnTo>
                    <a:lnTo>
                      <a:pt x="45000" y="18461"/>
                    </a:lnTo>
                    <a:lnTo>
                      <a:pt x="41470" y="17692"/>
                    </a:lnTo>
                    <a:lnTo>
                      <a:pt x="34411" y="16923"/>
                    </a:lnTo>
                    <a:lnTo>
                      <a:pt x="0" y="21538"/>
                    </a:lnTo>
                    <a:lnTo>
                      <a:pt x="9705" y="103076"/>
                    </a:lnTo>
                    <a:lnTo>
                      <a:pt x="14117" y="104615"/>
                    </a:lnTo>
                    <a:lnTo>
                      <a:pt x="18529" y="103076"/>
                    </a:lnTo>
                    <a:lnTo>
                      <a:pt x="19411" y="102307"/>
                    </a:lnTo>
                    <a:lnTo>
                      <a:pt x="23823" y="105384"/>
                    </a:lnTo>
                    <a:lnTo>
                      <a:pt x="27352" y="107692"/>
                    </a:lnTo>
                    <a:lnTo>
                      <a:pt x="29117" y="110769"/>
                    </a:lnTo>
                    <a:lnTo>
                      <a:pt x="30000" y="112307"/>
                    </a:lnTo>
                    <a:lnTo>
                      <a:pt x="34411" y="113076"/>
                    </a:lnTo>
                    <a:lnTo>
                      <a:pt x="37058" y="113846"/>
                    </a:lnTo>
                    <a:lnTo>
                      <a:pt x="38823" y="114615"/>
                    </a:lnTo>
                    <a:lnTo>
                      <a:pt x="40588" y="116153"/>
                    </a:lnTo>
                    <a:lnTo>
                      <a:pt x="43235" y="115384"/>
                    </a:lnTo>
                    <a:lnTo>
                      <a:pt x="43235" y="114615"/>
                    </a:lnTo>
                    <a:lnTo>
                      <a:pt x="45000" y="113076"/>
                    </a:lnTo>
                    <a:lnTo>
                      <a:pt x="45882" y="112307"/>
                    </a:lnTo>
                    <a:lnTo>
                      <a:pt x="48529" y="113846"/>
                    </a:lnTo>
                    <a:lnTo>
                      <a:pt x="52941" y="115384"/>
                    </a:lnTo>
                    <a:lnTo>
                      <a:pt x="58235" y="114615"/>
                    </a:lnTo>
                    <a:lnTo>
                      <a:pt x="59117" y="113846"/>
                    </a:lnTo>
                    <a:lnTo>
                      <a:pt x="60882" y="111538"/>
                    </a:lnTo>
                    <a:lnTo>
                      <a:pt x="62647" y="110769"/>
                    </a:lnTo>
                    <a:lnTo>
                      <a:pt x="63529" y="110000"/>
                    </a:lnTo>
                    <a:lnTo>
                      <a:pt x="66176" y="112307"/>
                    </a:lnTo>
                    <a:lnTo>
                      <a:pt x="69705" y="116153"/>
                    </a:lnTo>
                    <a:lnTo>
                      <a:pt x="73235" y="119230"/>
                    </a:lnTo>
                    <a:lnTo>
                      <a:pt x="75882" y="119230"/>
                    </a:lnTo>
                    <a:lnTo>
                      <a:pt x="75000" y="120000"/>
                    </a:lnTo>
                    <a:lnTo>
                      <a:pt x="77647" y="117692"/>
                    </a:lnTo>
                    <a:lnTo>
                      <a:pt x="81176" y="114615"/>
                    </a:lnTo>
                    <a:lnTo>
                      <a:pt x="82941" y="112307"/>
                    </a:lnTo>
                    <a:lnTo>
                      <a:pt x="82941" y="109230"/>
                    </a:lnTo>
                    <a:lnTo>
                      <a:pt x="85588" y="100769"/>
                    </a:lnTo>
                    <a:lnTo>
                      <a:pt x="88235" y="98461"/>
                    </a:lnTo>
                    <a:lnTo>
                      <a:pt x="91764" y="100769"/>
                    </a:lnTo>
                    <a:lnTo>
                      <a:pt x="92647" y="100000"/>
                    </a:lnTo>
                    <a:lnTo>
                      <a:pt x="93529" y="92307"/>
                    </a:lnTo>
                    <a:lnTo>
                      <a:pt x="96176" y="89230"/>
                    </a:lnTo>
                    <a:lnTo>
                      <a:pt x="99705" y="84615"/>
                    </a:lnTo>
                    <a:lnTo>
                      <a:pt x="104117" y="84615"/>
                    </a:lnTo>
                    <a:lnTo>
                      <a:pt x="106764" y="81538"/>
                    </a:lnTo>
                    <a:lnTo>
                      <a:pt x="113823" y="76153"/>
                    </a:lnTo>
                    <a:lnTo>
                      <a:pt x="115588" y="72307"/>
                    </a:lnTo>
                    <a:lnTo>
                      <a:pt x="115588" y="70000"/>
                    </a:lnTo>
                    <a:lnTo>
                      <a:pt x="116470" y="63846"/>
                    </a:lnTo>
                    <a:lnTo>
                      <a:pt x="116470" y="59230"/>
                    </a:lnTo>
                    <a:lnTo>
                      <a:pt x="117352" y="56923"/>
                    </a:lnTo>
                    <a:lnTo>
                      <a:pt x="117352" y="53846"/>
                    </a:lnTo>
                    <a:lnTo>
                      <a:pt x="117352" y="47692"/>
                    </a:lnTo>
                    <a:lnTo>
                      <a:pt x="117352" y="46923"/>
                    </a:lnTo>
                    <a:lnTo>
                      <a:pt x="116470" y="44615"/>
                    </a:lnTo>
                    <a:lnTo>
                      <a:pt x="117352" y="42307"/>
                    </a:lnTo>
                    <a:lnTo>
                      <a:pt x="120000" y="42307"/>
                    </a:lnTo>
                    <a:lnTo>
                      <a:pt x="111176" y="0"/>
                    </a:lnTo>
                    <a:lnTo>
                      <a:pt x="106764" y="3846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98" name="Shape 1433">
                <a:extLst>
                  <a:ext uri="{FF2B5EF4-FFF2-40B4-BE49-F238E27FC236}">
                    <a16:creationId xmlns:a16="http://schemas.microsoft.com/office/drawing/2014/main" id="{E0E2EFAE-DF51-4DEF-AF1C-78B9F79CA583}"/>
                  </a:ext>
                </a:extLst>
              </p:cNvPr>
              <p:cNvSpPr/>
              <p:nvPr/>
            </p:nvSpPr>
            <p:spPr>
              <a:xfrm>
                <a:off x="9223592" y="2894192"/>
                <a:ext cx="408407" cy="702642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6000" y="120000"/>
                    </a:moveTo>
                    <a:lnTo>
                      <a:pt x="6000" y="116511"/>
                    </a:lnTo>
                    <a:lnTo>
                      <a:pt x="15600" y="116511"/>
                    </a:lnTo>
                    <a:lnTo>
                      <a:pt x="19200" y="113720"/>
                    </a:lnTo>
                    <a:lnTo>
                      <a:pt x="22800" y="113720"/>
                    </a:lnTo>
                    <a:lnTo>
                      <a:pt x="28800" y="113720"/>
                    </a:lnTo>
                    <a:lnTo>
                      <a:pt x="32400" y="115813"/>
                    </a:lnTo>
                    <a:lnTo>
                      <a:pt x="37200" y="117209"/>
                    </a:lnTo>
                    <a:lnTo>
                      <a:pt x="38400" y="116511"/>
                    </a:lnTo>
                    <a:lnTo>
                      <a:pt x="38400" y="113720"/>
                    </a:lnTo>
                    <a:lnTo>
                      <a:pt x="43200" y="113023"/>
                    </a:lnTo>
                    <a:lnTo>
                      <a:pt x="45600" y="112325"/>
                    </a:lnTo>
                    <a:lnTo>
                      <a:pt x="50400" y="112325"/>
                    </a:lnTo>
                    <a:lnTo>
                      <a:pt x="52800" y="113720"/>
                    </a:lnTo>
                    <a:lnTo>
                      <a:pt x="57600" y="114418"/>
                    </a:lnTo>
                    <a:lnTo>
                      <a:pt x="58800" y="112325"/>
                    </a:lnTo>
                    <a:lnTo>
                      <a:pt x="58800" y="109534"/>
                    </a:lnTo>
                    <a:lnTo>
                      <a:pt x="62400" y="107441"/>
                    </a:lnTo>
                    <a:lnTo>
                      <a:pt x="63600" y="104651"/>
                    </a:lnTo>
                    <a:lnTo>
                      <a:pt x="66000" y="104651"/>
                    </a:lnTo>
                    <a:lnTo>
                      <a:pt x="67200" y="107441"/>
                    </a:lnTo>
                    <a:lnTo>
                      <a:pt x="70800" y="109534"/>
                    </a:lnTo>
                    <a:lnTo>
                      <a:pt x="72000" y="110232"/>
                    </a:lnTo>
                    <a:lnTo>
                      <a:pt x="79200" y="109534"/>
                    </a:lnTo>
                    <a:lnTo>
                      <a:pt x="81600" y="106744"/>
                    </a:lnTo>
                    <a:lnTo>
                      <a:pt x="81600" y="104651"/>
                    </a:lnTo>
                    <a:lnTo>
                      <a:pt x="85200" y="101162"/>
                    </a:lnTo>
                    <a:lnTo>
                      <a:pt x="88800" y="101162"/>
                    </a:lnTo>
                    <a:lnTo>
                      <a:pt x="91200" y="99767"/>
                    </a:lnTo>
                    <a:lnTo>
                      <a:pt x="93600" y="96976"/>
                    </a:lnTo>
                    <a:lnTo>
                      <a:pt x="96000" y="94186"/>
                    </a:lnTo>
                    <a:lnTo>
                      <a:pt x="96000" y="91395"/>
                    </a:lnTo>
                    <a:lnTo>
                      <a:pt x="97200" y="90000"/>
                    </a:lnTo>
                    <a:lnTo>
                      <a:pt x="97200" y="88604"/>
                    </a:lnTo>
                    <a:lnTo>
                      <a:pt x="98400" y="87906"/>
                    </a:lnTo>
                    <a:lnTo>
                      <a:pt x="108000" y="87209"/>
                    </a:lnTo>
                    <a:lnTo>
                      <a:pt x="112800" y="85813"/>
                    </a:lnTo>
                    <a:lnTo>
                      <a:pt x="117600" y="85813"/>
                    </a:lnTo>
                    <a:lnTo>
                      <a:pt x="120000" y="84418"/>
                    </a:lnTo>
                    <a:lnTo>
                      <a:pt x="118800" y="80232"/>
                    </a:lnTo>
                    <a:lnTo>
                      <a:pt x="120000" y="78837"/>
                    </a:lnTo>
                    <a:lnTo>
                      <a:pt x="117600" y="78139"/>
                    </a:lnTo>
                    <a:lnTo>
                      <a:pt x="116400" y="75348"/>
                    </a:lnTo>
                    <a:lnTo>
                      <a:pt x="118800" y="74651"/>
                    </a:lnTo>
                    <a:lnTo>
                      <a:pt x="105600" y="697"/>
                    </a:lnTo>
                    <a:lnTo>
                      <a:pt x="105600" y="0"/>
                    </a:lnTo>
                    <a:lnTo>
                      <a:pt x="32400" y="2790"/>
                    </a:lnTo>
                    <a:lnTo>
                      <a:pt x="32400" y="3488"/>
                    </a:lnTo>
                    <a:lnTo>
                      <a:pt x="24000" y="6279"/>
                    </a:lnTo>
                    <a:lnTo>
                      <a:pt x="19200" y="8372"/>
                    </a:lnTo>
                    <a:lnTo>
                      <a:pt x="15600" y="9069"/>
                    </a:lnTo>
                    <a:lnTo>
                      <a:pt x="9600" y="8372"/>
                    </a:lnTo>
                    <a:lnTo>
                      <a:pt x="13200" y="71860"/>
                    </a:lnTo>
                    <a:lnTo>
                      <a:pt x="12000" y="73953"/>
                    </a:lnTo>
                    <a:lnTo>
                      <a:pt x="12000" y="76046"/>
                    </a:lnTo>
                    <a:lnTo>
                      <a:pt x="12000" y="78837"/>
                    </a:lnTo>
                    <a:lnTo>
                      <a:pt x="13200" y="81627"/>
                    </a:lnTo>
                    <a:lnTo>
                      <a:pt x="18000" y="86511"/>
                    </a:lnTo>
                    <a:lnTo>
                      <a:pt x="19200" y="90697"/>
                    </a:lnTo>
                    <a:lnTo>
                      <a:pt x="19200" y="93488"/>
                    </a:lnTo>
                    <a:lnTo>
                      <a:pt x="15600" y="94883"/>
                    </a:lnTo>
                    <a:lnTo>
                      <a:pt x="13200" y="97674"/>
                    </a:lnTo>
                    <a:lnTo>
                      <a:pt x="12000" y="101162"/>
                    </a:lnTo>
                    <a:lnTo>
                      <a:pt x="9600" y="102558"/>
                    </a:lnTo>
                    <a:lnTo>
                      <a:pt x="6000" y="104651"/>
                    </a:lnTo>
                    <a:lnTo>
                      <a:pt x="4800" y="108837"/>
                    </a:lnTo>
                    <a:lnTo>
                      <a:pt x="2400" y="109534"/>
                    </a:lnTo>
                    <a:lnTo>
                      <a:pt x="0" y="112325"/>
                    </a:lnTo>
                    <a:lnTo>
                      <a:pt x="0" y="116511"/>
                    </a:lnTo>
                    <a:lnTo>
                      <a:pt x="1200" y="119302"/>
                    </a:lnTo>
                    <a:lnTo>
                      <a:pt x="2400" y="120000"/>
                    </a:lnTo>
                    <a:lnTo>
                      <a:pt x="2400" y="120000"/>
                    </a:lnTo>
                    <a:lnTo>
                      <a:pt x="6000" y="12000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199" name="Shape 1434">
                <a:extLst>
                  <a:ext uri="{FF2B5EF4-FFF2-40B4-BE49-F238E27FC236}">
                    <a16:creationId xmlns:a16="http://schemas.microsoft.com/office/drawing/2014/main" id="{7259DC77-B36E-4771-9174-785AC64A84AC}"/>
                  </a:ext>
                </a:extLst>
              </p:cNvPr>
              <p:cNvSpPr/>
              <p:nvPr/>
            </p:nvSpPr>
            <p:spPr>
              <a:xfrm>
                <a:off x="8762092" y="2804318"/>
                <a:ext cx="526845" cy="923240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80000" y="115752"/>
                    </a:moveTo>
                    <a:lnTo>
                      <a:pt x="81860" y="115221"/>
                    </a:lnTo>
                    <a:lnTo>
                      <a:pt x="85581" y="116283"/>
                    </a:lnTo>
                    <a:lnTo>
                      <a:pt x="89302" y="117876"/>
                    </a:lnTo>
                    <a:lnTo>
                      <a:pt x="92093" y="117876"/>
                    </a:lnTo>
                    <a:lnTo>
                      <a:pt x="94883" y="117876"/>
                    </a:lnTo>
                    <a:lnTo>
                      <a:pt x="96744" y="117345"/>
                    </a:lnTo>
                    <a:lnTo>
                      <a:pt x="94883" y="114690"/>
                    </a:lnTo>
                    <a:lnTo>
                      <a:pt x="94883" y="112035"/>
                    </a:lnTo>
                    <a:lnTo>
                      <a:pt x="97674" y="110973"/>
                    </a:lnTo>
                    <a:lnTo>
                      <a:pt x="103255" y="109911"/>
                    </a:lnTo>
                    <a:lnTo>
                      <a:pt x="105116" y="109380"/>
                    </a:lnTo>
                    <a:lnTo>
                      <a:pt x="104186" y="107787"/>
                    </a:lnTo>
                    <a:lnTo>
                      <a:pt x="104186" y="106194"/>
                    </a:lnTo>
                    <a:lnTo>
                      <a:pt x="104186" y="105663"/>
                    </a:lnTo>
                    <a:lnTo>
                      <a:pt x="104186" y="103539"/>
                    </a:lnTo>
                    <a:lnTo>
                      <a:pt x="106976" y="103008"/>
                    </a:lnTo>
                    <a:lnTo>
                      <a:pt x="106976" y="103008"/>
                    </a:lnTo>
                    <a:lnTo>
                      <a:pt x="106046" y="102477"/>
                    </a:lnTo>
                    <a:lnTo>
                      <a:pt x="105116" y="100353"/>
                    </a:lnTo>
                    <a:lnTo>
                      <a:pt x="105116" y="97168"/>
                    </a:lnTo>
                    <a:lnTo>
                      <a:pt x="106976" y="95044"/>
                    </a:lnTo>
                    <a:lnTo>
                      <a:pt x="108837" y="94513"/>
                    </a:lnTo>
                    <a:lnTo>
                      <a:pt x="109767" y="91327"/>
                    </a:lnTo>
                    <a:lnTo>
                      <a:pt x="112558" y="89734"/>
                    </a:lnTo>
                    <a:lnTo>
                      <a:pt x="114418" y="88672"/>
                    </a:lnTo>
                    <a:lnTo>
                      <a:pt x="115348" y="86017"/>
                    </a:lnTo>
                    <a:lnTo>
                      <a:pt x="117209" y="83893"/>
                    </a:lnTo>
                    <a:lnTo>
                      <a:pt x="120000" y="82831"/>
                    </a:lnTo>
                    <a:lnTo>
                      <a:pt x="120000" y="80707"/>
                    </a:lnTo>
                    <a:lnTo>
                      <a:pt x="119069" y="77522"/>
                    </a:lnTo>
                    <a:lnTo>
                      <a:pt x="115348" y="73805"/>
                    </a:lnTo>
                    <a:lnTo>
                      <a:pt x="114418" y="71681"/>
                    </a:lnTo>
                    <a:lnTo>
                      <a:pt x="114418" y="69557"/>
                    </a:lnTo>
                    <a:lnTo>
                      <a:pt x="114418" y="67964"/>
                    </a:lnTo>
                    <a:lnTo>
                      <a:pt x="115348" y="66371"/>
                    </a:lnTo>
                    <a:lnTo>
                      <a:pt x="112558" y="18053"/>
                    </a:lnTo>
                    <a:lnTo>
                      <a:pt x="113488" y="18053"/>
                    </a:lnTo>
                    <a:lnTo>
                      <a:pt x="109767" y="16460"/>
                    </a:lnTo>
                    <a:lnTo>
                      <a:pt x="107906" y="13805"/>
                    </a:lnTo>
                    <a:lnTo>
                      <a:pt x="106046" y="12212"/>
                    </a:lnTo>
                    <a:lnTo>
                      <a:pt x="105116" y="9026"/>
                    </a:lnTo>
                    <a:lnTo>
                      <a:pt x="101395" y="6902"/>
                    </a:lnTo>
                    <a:lnTo>
                      <a:pt x="99534" y="1592"/>
                    </a:lnTo>
                    <a:lnTo>
                      <a:pt x="99534" y="0"/>
                    </a:lnTo>
                    <a:lnTo>
                      <a:pt x="22325" y="2654"/>
                    </a:lnTo>
                    <a:lnTo>
                      <a:pt x="20465" y="1592"/>
                    </a:lnTo>
                    <a:lnTo>
                      <a:pt x="20465" y="1592"/>
                    </a:lnTo>
                    <a:lnTo>
                      <a:pt x="19534" y="3185"/>
                    </a:lnTo>
                    <a:lnTo>
                      <a:pt x="19534" y="4247"/>
                    </a:lnTo>
                    <a:lnTo>
                      <a:pt x="22325" y="5840"/>
                    </a:lnTo>
                    <a:lnTo>
                      <a:pt x="26046" y="7433"/>
                    </a:lnTo>
                    <a:lnTo>
                      <a:pt x="30697" y="9557"/>
                    </a:lnTo>
                    <a:lnTo>
                      <a:pt x="35348" y="12212"/>
                    </a:lnTo>
                    <a:lnTo>
                      <a:pt x="35348" y="13805"/>
                    </a:lnTo>
                    <a:lnTo>
                      <a:pt x="33488" y="16991"/>
                    </a:lnTo>
                    <a:lnTo>
                      <a:pt x="31627" y="18584"/>
                    </a:lnTo>
                    <a:lnTo>
                      <a:pt x="28837" y="22831"/>
                    </a:lnTo>
                    <a:lnTo>
                      <a:pt x="26976" y="23893"/>
                    </a:lnTo>
                    <a:lnTo>
                      <a:pt x="25116" y="24955"/>
                    </a:lnTo>
                    <a:lnTo>
                      <a:pt x="19534" y="26548"/>
                    </a:lnTo>
                    <a:lnTo>
                      <a:pt x="13953" y="26548"/>
                    </a:lnTo>
                    <a:lnTo>
                      <a:pt x="11162" y="27079"/>
                    </a:lnTo>
                    <a:lnTo>
                      <a:pt x="11162" y="29203"/>
                    </a:lnTo>
                    <a:lnTo>
                      <a:pt x="11162" y="30796"/>
                    </a:lnTo>
                    <a:lnTo>
                      <a:pt x="13953" y="34513"/>
                    </a:lnTo>
                    <a:lnTo>
                      <a:pt x="15813" y="35575"/>
                    </a:lnTo>
                    <a:lnTo>
                      <a:pt x="12093" y="37168"/>
                    </a:lnTo>
                    <a:lnTo>
                      <a:pt x="12093" y="40884"/>
                    </a:lnTo>
                    <a:lnTo>
                      <a:pt x="10232" y="40884"/>
                    </a:lnTo>
                    <a:lnTo>
                      <a:pt x="7441" y="42477"/>
                    </a:lnTo>
                    <a:lnTo>
                      <a:pt x="1860" y="45663"/>
                    </a:lnTo>
                    <a:lnTo>
                      <a:pt x="2790" y="48849"/>
                    </a:lnTo>
                    <a:lnTo>
                      <a:pt x="0" y="50442"/>
                    </a:lnTo>
                    <a:lnTo>
                      <a:pt x="0" y="55221"/>
                    </a:lnTo>
                    <a:lnTo>
                      <a:pt x="0" y="60000"/>
                    </a:lnTo>
                    <a:lnTo>
                      <a:pt x="5581" y="65309"/>
                    </a:lnTo>
                    <a:lnTo>
                      <a:pt x="19534" y="72212"/>
                    </a:lnTo>
                    <a:lnTo>
                      <a:pt x="23255" y="75398"/>
                    </a:lnTo>
                    <a:lnTo>
                      <a:pt x="23255" y="79646"/>
                    </a:lnTo>
                    <a:lnTo>
                      <a:pt x="27906" y="81769"/>
                    </a:lnTo>
                    <a:lnTo>
                      <a:pt x="28837" y="80176"/>
                    </a:lnTo>
                    <a:lnTo>
                      <a:pt x="31627" y="79646"/>
                    </a:lnTo>
                    <a:lnTo>
                      <a:pt x="36279" y="79646"/>
                    </a:lnTo>
                    <a:lnTo>
                      <a:pt x="39069" y="81238"/>
                    </a:lnTo>
                    <a:lnTo>
                      <a:pt x="41860" y="82831"/>
                    </a:lnTo>
                    <a:lnTo>
                      <a:pt x="39069" y="86017"/>
                    </a:lnTo>
                    <a:lnTo>
                      <a:pt x="38139" y="88672"/>
                    </a:lnTo>
                    <a:lnTo>
                      <a:pt x="38139" y="90265"/>
                    </a:lnTo>
                    <a:lnTo>
                      <a:pt x="36279" y="92920"/>
                    </a:lnTo>
                    <a:lnTo>
                      <a:pt x="36279" y="95575"/>
                    </a:lnTo>
                    <a:lnTo>
                      <a:pt x="40930" y="98230"/>
                    </a:lnTo>
                    <a:lnTo>
                      <a:pt x="47441" y="100884"/>
                    </a:lnTo>
                    <a:lnTo>
                      <a:pt x="49302" y="100353"/>
                    </a:lnTo>
                    <a:lnTo>
                      <a:pt x="59534" y="104070"/>
                    </a:lnTo>
                    <a:lnTo>
                      <a:pt x="63255" y="106194"/>
                    </a:lnTo>
                    <a:lnTo>
                      <a:pt x="66046" y="110973"/>
                    </a:lnTo>
                    <a:lnTo>
                      <a:pt x="65116" y="113628"/>
                    </a:lnTo>
                    <a:lnTo>
                      <a:pt x="64186" y="115221"/>
                    </a:lnTo>
                    <a:lnTo>
                      <a:pt x="68837" y="117876"/>
                    </a:lnTo>
                    <a:lnTo>
                      <a:pt x="68837" y="120000"/>
                    </a:lnTo>
                    <a:lnTo>
                      <a:pt x="70697" y="117876"/>
                    </a:lnTo>
                    <a:lnTo>
                      <a:pt x="74418" y="117876"/>
                    </a:lnTo>
                    <a:lnTo>
                      <a:pt x="77209" y="117345"/>
                    </a:lnTo>
                    <a:lnTo>
                      <a:pt x="80000" y="115752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  <p:sp>
            <p:nvSpPr>
              <p:cNvPr id="200" name="Shape 1435">
                <a:extLst>
                  <a:ext uri="{FF2B5EF4-FFF2-40B4-BE49-F238E27FC236}">
                    <a16:creationId xmlns:a16="http://schemas.microsoft.com/office/drawing/2014/main" id="{FFAB2B0D-EFD7-4DF4-8A3C-7F9C2E8FE1EE}"/>
                  </a:ext>
                </a:extLst>
              </p:cNvPr>
              <p:cNvSpPr/>
              <p:nvPr/>
            </p:nvSpPr>
            <p:spPr>
              <a:xfrm>
                <a:off x="8116808" y="2600060"/>
                <a:ext cx="800477" cy="588260"/>
              </a:xfrm>
              <a:custGeom>
                <a:avLst/>
                <a:gdLst/>
                <a:ahLst/>
                <a:cxnLst/>
                <a:rect l="0" t="0" r="0" b="0"/>
                <a:pathLst>
                  <a:path w="120000" h="120000" extrusionOk="0">
                    <a:moveTo>
                      <a:pt x="98181" y="113647"/>
                    </a:moveTo>
                    <a:cubicBezTo>
                      <a:pt x="101818" y="108705"/>
                      <a:pt x="101818" y="108705"/>
                      <a:pt x="101818" y="108705"/>
                    </a:cubicBezTo>
                    <a:cubicBezTo>
                      <a:pt x="103376" y="105882"/>
                      <a:pt x="103376" y="105882"/>
                      <a:pt x="103376" y="105882"/>
                    </a:cubicBezTo>
                    <a:cubicBezTo>
                      <a:pt x="104415" y="105882"/>
                      <a:pt x="104415" y="105882"/>
                      <a:pt x="104415" y="105882"/>
                    </a:cubicBezTo>
                    <a:cubicBezTo>
                      <a:pt x="104935" y="100235"/>
                      <a:pt x="104935" y="100235"/>
                      <a:pt x="104935" y="100235"/>
                    </a:cubicBezTo>
                    <a:cubicBezTo>
                      <a:pt x="107012" y="98117"/>
                      <a:pt x="107012" y="98117"/>
                      <a:pt x="107012" y="98117"/>
                    </a:cubicBezTo>
                    <a:cubicBezTo>
                      <a:pt x="105974" y="96000"/>
                      <a:pt x="105974" y="96000"/>
                      <a:pt x="105974" y="96000"/>
                    </a:cubicBezTo>
                    <a:cubicBezTo>
                      <a:pt x="103896" y="90352"/>
                      <a:pt x="103896" y="90352"/>
                      <a:pt x="103896" y="90352"/>
                    </a:cubicBezTo>
                    <a:cubicBezTo>
                      <a:pt x="103896" y="87529"/>
                      <a:pt x="103896" y="87529"/>
                      <a:pt x="103896" y="87529"/>
                    </a:cubicBezTo>
                    <a:cubicBezTo>
                      <a:pt x="103896" y="84705"/>
                      <a:pt x="103896" y="84705"/>
                      <a:pt x="103896" y="84705"/>
                    </a:cubicBezTo>
                    <a:cubicBezTo>
                      <a:pt x="105974" y="83294"/>
                      <a:pt x="105974" y="83294"/>
                      <a:pt x="105974" y="83294"/>
                    </a:cubicBezTo>
                    <a:cubicBezTo>
                      <a:pt x="109610" y="83294"/>
                      <a:pt x="109610" y="83294"/>
                      <a:pt x="109610" y="83294"/>
                    </a:cubicBezTo>
                    <a:cubicBezTo>
                      <a:pt x="113246" y="81176"/>
                      <a:pt x="113246" y="81176"/>
                      <a:pt x="113246" y="81176"/>
                    </a:cubicBezTo>
                    <a:cubicBezTo>
                      <a:pt x="114285" y="79764"/>
                      <a:pt x="114285" y="79764"/>
                      <a:pt x="114285" y="79764"/>
                    </a:cubicBezTo>
                    <a:cubicBezTo>
                      <a:pt x="115844" y="77647"/>
                      <a:pt x="115844" y="77647"/>
                      <a:pt x="115844" y="77647"/>
                    </a:cubicBezTo>
                    <a:cubicBezTo>
                      <a:pt x="117402" y="71294"/>
                      <a:pt x="117402" y="71294"/>
                      <a:pt x="117402" y="71294"/>
                    </a:cubicBezTo>
                    <a:cubicBezTo>
                      <a:pt x="118961" y="68470"/>
                      <a:pt x="118961" y="68470"/>
                      <a:pt x="118961" y="68470"/>
                    </a:cubicBezTo>
                    <a:cubicBezTo>
                      <a:pt x="119999" y="63529"/>
                      <a:pt x="119999" y="63529"/>
                      <a:pt x="119999" y="63529"/>
                    </a:cubicBezTo>
                    <a:cubicBezTo>
                      <a:pt x="119999" y="61411"/>
                      <a:pt x="119999" y="61411"/>
                      <a:pt x="119999" y="61411"/>
                    </a:cubicBezTo>
                    <a:cubicBezTo>
                      <a:pt x="116883" y="57176"/>
                      <a:pt x="116883" y="57176"/>
                      <a:pt x="116883" y="57176"/>
                    </a:cubicBezTo>
                    <a:cubicBezTo>
                      <a:pt x="113766" y="53647"/>
                      <a:pt x="113766" y="53647"/>
                      <a:pt x="113766" y="53647"/>
                    </a:cubicBezTo>
                    <a:cubicBezTo>
                      <a:pt x="111688" y="50823"/>
                      <a:pt x="111688" y="50823"/>
                      <a:pt x="111688" y="50823"/>
                    </a:cubicBezTo>
                    <a:cubicBezTo>
                      <a:pt x="109610" y="48705"/>
                      <a:pt x="109610" y="48705"/>
                      <a:pt x="109610" y="48705"/>
                    </a:cubicBezTo>
                    <a:cubicBezTo>
                      <a:pt x="109610" y="46588"/>
                      <a:pt x="109610" y="46588"/>
                      <a:pt x="109610" y="46588"/>
                    </a:cubicBezTo>
                    <a:cubicBezTo>
                      <a:pt x="110129" y="44470"/>
                      <a:pt x="110129" y="44470"/>
                      <a:pt x="110129" y="44470"/>
                    </a:cubicBezTo>
                    <a:cubicBezTo>
                      <a:pt x="111168" y="45882"/>
                      <a:pt x="111168" y="45882"/>
                      <a:pt x="111168" y="45882"/>
                    </a:cubicBezTo>
                    <a:cubicBezTo>
                      <a:pt x="109610" y="43058"/>
                      <a:pt x="109610" y="43058"/>
                      <a:pt x="109610" y="43058"/>
                    </a:cubicBezTo>
                    <a:cubicBezTo>
                      <a:pt x="109610" y="43058"/>
                      <a:pt x="107532" y="41647"/>
                      <a:pt x="107012" y="41647"/>
                    </a:cubicBezTo>
                    <a:cubicBezTo>
                      <a:pt x="106493" y="41647"/>
                      <a:pt x="104415" y="38823"/>
                      <a:pt x="104415" y="38823"/>
                    </a:cubicBezTo>
                    <a:cubicBezTo>
                      <a:pt x="101818" y="38823"/>
                      <a:pt x="101818" y="38823"/>
                      <a:pt x="101818" y="38823"/>
                    </a:cubicBezTo>
                    <a:cubicBezTo>
                      <a:pt x="101818" y="35294"/>
                      <a:pt x="101818" y="35294"/>
                      <a:pt x="101818" y="35294"/>
                    </a:cubicBezTo>
                    <a:cubicBezTo>
                      <a:pt x="100779" y="31764"/>
                      <a:pt x="100779" y="31764"/>
                      <a:pt x="100779" y="31764"/>
                    </a:cubicBezTo>
                    <a:cubicBezTo>
                      <a:pt x="100779" y="27529"/>
                      <a:pt x="100779" y="27529"/>
                      <a:pt x="100779" y="27529"/>
                    </a:cubicBezTo>
                    <a:cubicBezTo>
                      <a:pt x="100779" y="24705"/>
                      <a:pt x="100779" y="24705"/>
                      <a:pt x="100779" y="24705"/>
                    </a:cubicBezTo>
                    <a:cubicBezTo>
                      <a:pt x="100779" y="19764"/>
                      <a:pt x="100779" y="19764"/>
                      <a:pt x="100779" y="19764"/>
                    </a:cubicBezTo>
                    <a:cubicBezTo>
                      <a:pt x="99740" y="17647"/>
                      <a:pt x="99740" y="17647"/>
                      <a:pt x="99740" y="17647"/>
                    </a:cubicBezTo>
                    <a:cubicBezTo>
                      <a:pt x="98181" y="12705"/>
                      <a:pt x="98181" y="12705"/>
                      <a:pt x="98181" y="12705"/>
                    </a:cubicBezTo>
                    <a:cubicBezTo>
                      <a:pt x="3636" y="15529"/>
                      <a:pt x="3636" y="15529"/>
                      <a:pt x="3636" y="15529"/>
                    </a:cubicBezTo>
                    <a:cubicBezTo>
                      <a:pt x="4155" y="0"/>
                      <a:pt x="4155" y="0"/>
                      <a:pt x="4155" y="0"/>
                    </a:cubicBezTo>
                    <a:cubicBezTo>
                      <a:pt x="4155" y="0"/>
                      <a:pt x="4155" y="0"/>
                      <a:pt x="4155" y="0"/>
                    </a:cubicBezTo>
                    <a:cubicBezTo>
                      <a:pt x="3636" y="16235"/>
                      <a:pt x="3636" y="16235"/>
                      <a:pt x="3636" y="16235"/>
                    </a:cubicBezTo>
                    <a:cubicBezTo>
                      <a:pt x="2077" y="16235"/>
                      <a:pt x="2077" y="16235"/>
                      <a:pt x="2077" y="16235"/>
                    </a:cubicBezTo>
                    <a:cubicBezTo>
                      <a:pt x="2077" y="18352"/>
                      <a:pt x="2077" y="18352"/>
                      <a:pt x="2077" y="18352"/>
                    </a:cubicBezTo>
                    <a:cubicBezTo>
                      <a:pt x="1558" y="21882"/>
                      <a:pt x="1558" y="21882"/>
                      <a:pt x="1558" y="21882"/>
                    </a:cubicBezTo>
                    <a:cubicBezTo>
                      <a:pt x="2597" y="22588"/>
                      <a:pt x="2597" y="22588"/>
                      <a:pt x="2597" y="22588"/>
                    </a:cubicBezTo>
                    <a:cubicBezTo>
                      <a:pt x="3636" y="26117"/>
                      <a:pt x="3636" y="26117"/>
                      <a:pt x="3636" y="26117"/>
                    </a:cubicBezTo>
                    <a:cubicBezTo>
                      <a:pt x="3636" y="28941"/>
                      <a:pt x="3636" y="28941"/>
                      <a:pt x="3636" y="28941"/>
                    </a:cubicBezTo>
                    <a:cubicBezTo>
                      <a:pt x="2597" y="29647"/>
                      <a:pt x="2597" y="29647"/>
                      <a:pt x="2597" y="29647"/>
                    </a:cubicBezTo>
                    <a:cubicBezTo>
                      <a:pt x="2077" y="31764"/>
                      <a:pt x="2077" y="31764"/>
                      <a:pt x="2077" y="31764"/>
                    </a:cubicBezTo>
                    <a:cubicBezTo>
                      <a:pt x="2077" y="36705"/>
                      <a:pt x="2077" y="36705"/>
                      <a:pt x="2077" y="36705"/>
                    </a:cubicBezTo>
                    <a:cubicBezTo>
                      <a:pt x="519" y="37411"/>
                      <a:pt x="519" y="37411"/>
                      <a:pt x="519" y="37411"/>
                    </a:cubicBezTo>
                    <a:cubicBezTo>
                      <a:pt x="0" y="39529"/>
                      <a:pt x="0" y="39529"/>
                      <a:pt x="0" y="39529"/>
                    </a:cubicBezTo>
                    <a:cubicBezTo>
                      <a:pt x="0" y="41647"/>
                      <a:pt x="0" y="41647"/>
                      <a:pt x="0" y="41647"/>
                    </a:cubicBezTo>
                    <a:cubicBezTo>
                      <a:pt x="2077" y="43764"/>
                      <a:pt x="2077" y="43764"/>
                      <a:pt x="2077" y="43764"/>
                    </a:cubicBezTo>
                    <a:cubicBezTo>
                      <a:pt x="2077" y="46588"/>
                      <a:pt x="2077" y="46588"/>
                      <a:pt x="2077" y="46588"/>
                    </a:cubicBezTo>
                    <a:cubicBezTo>
                      <a:pt x="2077" y="48705"/>
                      <a:pt x="2077" y="48705"/>
                      <a:pt x="2077" y="48705"/>
                    </a:cubicBezTo>
                    <a:cubicBezTo>
                      <a:pt x="1558" y="47294"/>
                      <a:pt x="1558" y="47294"/>
                      <a:pt x="1558" y="47294"/>
                    </a:cubicBezTo>
                    <a:cubicBezTo>
                      <a:pt x="3116" y="50117"/>
                      <a:pt x="3116" y="50117"/>
                      <a:pt x="3116" y="50117"/>
                    </a:cubicBezTo>
                    <a:cubicBezTo>
                      <a:pt x="4675" y="56470"/>
                      <a:pt x="4675" y="56470"/>
                      <a:pt x="4675" y="56470"/>
                    </a:cubicBezTo>
                    <a:cubicBezTo>
                      <a:pt x="6233" y="60000"/>
                      <a:pt x="6233" y="60000"/>
                      <a:pt x="6233" y="60000"/>
                    </a:cubicBezTo>
                    <a:cubicBezTo>
                      <a:pt x="7272" y="64235"/>
                      <a:pt x="7272" y="64235"/>
                      <a:pt x="7272" y="64235"/>
                    </a:cubicBezTo>
                    <a:cubicBezTo>
                      <a:pt x="8311" y="67764"/>
                      <a:pt x="8311" y="67764"/>
                      <a:pt x="8311" y="67764"/>
                    </a:cubicBezTo>
                    <a:cubicBezTo>
                      <a:pt x="9350" y="69882"/>
                      <a:pt x="9350" y="69882"/>
                      <a:pt x="9350" y="69882"/>
                    </a:cubicBezTo>
                    <a:cubicBezTo>
                      <a:pt x="9870" y="72000"/>
                      <a:pt x="9870" y="72000"/>
                      <a:pt x="9870" y="72000"/>
                    </a:cubicBezTo>
                    <a:cubicBezTo>
                      <a:pt x="10389" y="72705"/>
                      <a:pt x="10389" y="72705"/>
                      <a:pt x="10389" y="72705"/>
                    </a:cubicBezTo>
                    <a:cubicBezTo>
                      <a:pt x="10389" y="73411"/>
                      <a:pt x="10389" y="73411"/>
                      <a:pt x="10389" y="73411"/>
                    </a:cubicBezTo>
                    <a:cubicBezTo>
                      <a:pt x="8831" y="74117"/>
                      <a:pt x="8831" y="74117"/>
                      <a:pt x="8831" y="74117"/>
                    </a:cubicBezTo>
                    <a:cubicBezTo>
                      <a:pt x="9350" y="76941"/>
                      <a:pt x="9350" y="76941"/>
                      <a:pt x="9350" y="76941"/>
                    </a:cubicBezTo>
                    <a:cubicBezTo>
                      <a:pt x="9870" y="80470"/>
                      <a:pt x="9870" y="80470"/>
                      <a:pt x="9870" y="80470"/>
                    </a:cubicBezTo>
                    <a:cubicBezTo>
                      <a:pt x="10389" y="81882"/>
                      <a:pt x="10389" y="81882"/>
                      <a:pt x="10389" y="81882"/>
                    </a:cubicBezTo>
                    <a:cubicBezTo>
                      <a:pt x="11428" y="81882"/>
                      <a:pt x="11428" y="81882"/>
                      <a:pt x="11428" y="81882"/>
                    </a:cubicBezTo>
                    <a:cubicBezTo>
                      <a:pt x="12467" y="83294"/>
                      <a:pt x="12467" y="83294"/>
                      <a:pt x="12467" y="83294"/>
                    </a:cubicBezTo>
                    <a:cubicBezTo>
                      <a:pt x="13506" y="88235"/>
                      <a:pt x="13506" y="88235"/>
                      <a:pt x="13506" y="88235"/>
                    </a:cubicBezTo>
                    <a:cubicBezTo>
                      <a:pt x="13506" y="95294"/>
                      <a:pt x="13506" y="95294"/>
                      <a:pt x="13506" y="95294"/>
                    </a:cubicBezTo>
                    <a:cubicBezTo>
                      <a:pt x="12987" y="98117"/>
                      <a:pt x="12987" y="98117"/>
                      <a:pt x="12987" y="98117"/>
                    </a:cubicBezTo>
                    <a:cubicBezTo>
                      <a:pt x="14025" y="100235"/>
                      <a:pt x="14025" y="100235"/>
                      <a:pt x="14025" y="100235"/>
                    </a:cubicBezTo>
                    <a:cubicBezTo>
                      <a:pt x="14545" y="101647"/>
                      <a:pt x="14545" y="101647"/>
                      <a:pt x="14545" y="101647"/>
                    </a:cubicBezTo>
                    <a:cubicBezTo>
                      <a:pt x="14545" y="108705"/>
                      <a:pt x="14545" y="108705"/>
                      <a:pt x="14545" y="108705"/>
                    </a:cubicBezTo>
                    <a:cubicBezTo>
                      <a:pt x="15584" y="113647"/>
                      <a:pt x="15584" y="113647"/>
                      <a:pt x="15584" y="113647"/>
                    </a:cubicBezTo>
                    <a:cubicBezTo>
                      <a:pt x="15584" y="114352"/>
                      <a:pt x="15584" y="114352"/>
                      <a:pt x="15584" y="114352"/>
                    </a:cubicBezTo>
                    <a:cubicBezTo>
                      <a:pt x="91428" y="112941"/>
                      <a:pt x="91428" y="112941"/>
                      <a:pt x="91428" y="112941"/>
                    </a:cubicBezTo>
                    <a:cubicBezTo>
                      <a:pt x="97662" y="120000"/>
                      <a:pt x="97662" y="120000"/>
                      <a:pt x="97662" y="120000"/>
                    </a:cubicBezTo>
                    <a:cubicBezTo>
                      <a:pt x="98701" y="118588"/>
                      <a:pt x="98701" y="118588"/>
                      <a:pt x="98701" y="118588"/>
                    </a:cubicBezTo>
                    <a:lnTo>
                      <a:pt x="98181" y="113647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rgbClr val="FFFFFF"/>
                </a:solidFill>
                <a:prstDash val="solid"/>
                <a:miter/>
                <a:headEnd type="none" w="med" len="med"/>
                <a:tailEnd type="none" w="med" len="med"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 defTabSz="457200"/>
                <a:endParaRPr lang="en-US" kern="0">
                  <a:solidFill>
                    <a:srgbClr val="7F7F7F"/>
                  </a:solidFill>
                  <a:latin typeface="Calibri" panose="020F0502020204030204" pitchFamily="34" charset="0"/>
                  <a:ea typeface="Source Sans Pro"/>
                  <a:cs typeface="Calibri" panose="020F0502020204030204" pitchFamily="34" charset="0"/>
                  <a:sym typeface="Source Sans Pro"/>
                </a:endParaRPr>
              </a:p>
            </p:txBody>
          </p:sp>
        </p:grpSp>
        <p:sp>
          <p:nvSpPr>
            <p:cNvPr id="148" name="Arrow: Curved Up 147">
              <a:extLst>
                <a:ext uri="{FF2B5EF4-FFF2-40B4-BE49-F238E27FC236}">
                  <a16:creationId xmlns:a16="http://schemas.microsoft.com/office/drawing/2014/main" id="{DB90068A-1AB3-40D7-8F3F-F6F40385CDAF}"/>
                </a:ext>
              </a:extLst>
            </p:cNvPr>
            <p:cNvSpPr/>
            <p:nvPr/>
          </p:nvSpPr>
          <p:spPr>
            <a:xfrm rot="836655">
              <a:off x="1266765" y="3141195"/>
              <a:ext cx="3419464" cy="1259986"/>
            </a:xfrm>
            <a:prstGeom prst="curvedUpArrow">
              <a:avLst>
                <a:gd name="adj1" fmla="val 19272"/>
                <a:gd name="adj2" fmla="val 50000"/>
                <a:gd name="adj3" fmla="val 25000"/>
              </a:avLst>
            </a:prstGeom>
            <a:solidFill>
              <a:schemeClr val="bg1">
                <a:alpha val="3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pic>
          <p:nvPicPr>
            <p:cNvPr id="149" name="Picture 148" descr="A close up of a sign&#10;&#10;Description automatically generated">
              <a:extLst>
                <a:ext uri="{FF2B5EF4-FFF2-40B4-BE49-F238E27FC236}">
                  <a16:creationId xmlns:a16="http://schemas.microsoft.com/office/drawing/2014/main" id="{9FA3622E-D601-4870-878E-86FF25EB799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94718" y="2138312"/>
              <a:ext cx="2212177" cy="221217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329365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THE EVOLUTION OF </a:t>
            </a:r>
            <a:r>
              <a:rPr lang="sv-SE" err="1"/>
              <a:t>SMOKEless</a:t>
            </a:r>
            <a:r>
              <a:rPr lang="sv-SE"/>
              <a:t> PRODUCTS IN SCANDINAVIA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365B19-4345-4026-AD4D-D2EA5977A132}" type="slidenum">
              <a:rPr lang="en-US" smtClean="0"/>
              <a:pPr/>
              <a:t>4</a:t>
            </a:fld>
            <a:endParaRPr lang="en-US"/>
          </a:p>
        </p:txBody>
      </p:sp>
      <p:pic>
        <p:nvPicPr>
          <p:cNvPr id="7" name="Picture 6" descr="A picture containing coin&#10;&#10;Description automatically generated">
            <a:extLst>
              <a:ext uri="{FF2B5EF4-FFF2-40B4-BE49-F238E27FC236}">
                <a16:creationId xmlns:a16="http://schemas.microsoft.com/office/drawing/2014/main" id="{4258CD8A-06CE-4574-BEF4-396EBA3DF59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720" y="1173330"/>
            <a:ext cx="11123734" cy="4256147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7F78A95D-0A58-42A2-9ADE-0896B6136540}"/>
              </a:ext>
            </a:extLst>
          </p:cNvPr>
          <p:cNvSpPr/>
          <p:nvPr/>
        </p:nvSpPr>
        <p:spPr>
          <a:xfrm>
            <a:off x="9225280" y="1625600"/>
            <a:ext cx="1656080" cy="361696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656137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ZYN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5200" y="838606"/>
            <a:ext cx="7537696" cy="5258382"/>
          </a:xfrm>
        </p:spPr>
        <p:txBody>
          <a:bodyPr/>
          <a:lstStyle/>
          <a:p>
            <a:r>
              <a:rPr lang="en-US" dirty="0"/>
              <a:t>ZYN is a consumer product for oral use containing </a:t>
            </a:r>
            <a:r>
              <a:rPr lang="en-US" dirty="0">
                <a:solidFill>
                  <a:schemeClr val="accent3"/>
                </a:solidFill>
              </a:rPr>
              <a:t>nicotine but no tobacco</a:t>
            </a:r>
            <a:r>
              <a:rPr lang="en-US" dirty="0"/>
              <a:t>. </a:t>
            </a:r>
          </a:p>
          <a:p>
            <a:r>
              <a:rPr lang="en-US" dirty="0"/>
              <a:t>ZYN does </a:t>
            </a:r>
            <a:r>
              <a:rPr lang="en-US" dirty="0">
                <a:solidFill>
                  <a:schemeClr val="accent3"/>
                </a:solidFill>
              </a:rPr>
              <a:t>not require inhalation of smoke </a:t>
            </a:r>
            <a:r>
              <a:rPr lang="en-US" dirty="0"/>
              <a:t>or vape. </a:t>
            </a:r>
          </a:p>
          <a:p>
            <a:r>
              <a:rPr lang="en-US" dirty="0"/>
              <a:t>ZYN is a pouched product, comes in a variety of flavors and nicotine strengths. </a:t>
            </a:r>
          </a:p>
          <a:p>
            <a:r>
              <a:rPr lang="en-US" dirty="0"/>
              <a:t>ZYN is placed under the upper lip and is “spit-free”. </a:t>
            </a:r>
          </a:p>
          <a:p>
            <a:r>
              <a:rPr lang="en-US" dirty="0"/>
              <a:t>ZYN does </a:t>
            </a:r>
            <a:r>
              <a:rPr lang="en-US" dirty="0">
                <a:solidFill>
                  <a:schemeClr val="accent3"/>
                </a:solidFill>
              </a:rPr>
              <a:t>not contain detectable levels of tobacco specific nitrosamines (NNN, NNK) or Benzo (a) pyrene </a:t>
            </a:r>
          </a:p>
          <a:p>
            <a:r>
              <a:rPr lang="en-US" dirty="0"/>
              <a:t>The nicotine in ZYN is absorbed to the blood through the oral mucous membranes. </a:t>
            </a:r>
            <a:endParaRPr lang="sv-SE" dirty="0"/>
          </a:p>
          <a:p>
            <a:r>
              <a:rPr lang="en-US" dirty="0"/>
              <a:t>The target audience of ZYN is </a:t>
            </a:r>
            <a:r>
              <a:rPr lang="en-US" i="1" dirty="0"/>
              <a:t>adult users</a:t>
            </a:r>
            <a:r>
              <a:rPr lang="en-US" dirty="0"/>
              <a:t> of combusted and non-combusted tobacco products.</a:t>
            </a:r>
          </a:p>
          <a:p>
            <a:r>
              <a:rPr lang="en-US" dirty="0"/>
              <a:t>Nicotine pouches is NOT regulated by EU.</a:t>
            </a:r>
          </a:p>
          <a:p>
            <a:pPr marL="288000" lvl="1" indent="0">
              <a:buNone/>
            </a:pPr>
            <a:endParaRPr lang="sv-SE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D96889-B02B-46F6-90F4-5321315CCA4E}" type="slidenum">
              <a:rPr lang="en-US" smtClean="0"/>
              <a:t>5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36F76CE-80D1-4E06-A2B7-72672E8783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4692" y="1797889"/>
            <a:ext cx="1626218" cy="163111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4C34D51-F03F-4C95-8951-BABDD3493EC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0910" y="3467797"/>
            <a:ext cx="1734745" cy="1631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94847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1C3472-F226-49A3-9003-28C5095151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yths about nicotine pouch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6F5607-32FE-4026-A265-1468C46C03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5200" y="838606"/>
            <a:ext cx="8029595" cy="5258382"/>
          </a:xfrm>
        </p:spPr>
        <p:txBody>
          <a:bodyPr/>
          <a:lstStyle/>
          <a:p>
            <a:r>
              <a:rPr lang="en-US" sz="1600" dirty="0">
                <a:effectLst/>
                <a:ea typeface="Arial" panose="020B0604020202020204" pitchFamily="34" charset="0"/>
                <a:cs typeface="Times New Roman" panose="02020603050405020304" pitchFamily="18" charset="0"/>
              </a:rPr>
              <a:t>Myth 1: </a:t>
            </a:r>
          </a:p>
          <a:p>
            <a:pPr lvl="1"/>
            <a:r>
              <a:rPr lang="en-US" sz="1600" b="0" i="1" dirty="0">
                <a:effectLst/>
                <a:ea typeface="Arial" panose="020B0604020202020204" pitchFamily="34" charset="0"/>
                <a:cs typeface="Times New Roman" panose="02020603050405020304" pitchFamily="18" charset="0"/>
              </a:rPr>
              <a:t>One box of nicotine pouches has 16,8 gr of product, with a nicotine concentration of 14 mg/g  = contains 235,2 gr nicotine and corresponds to almost 12 packs of cigarettes. </a:t>
            </a:r>
          </a:p>
          <a:p>
            <a:pPr lvl="1"/>
            <a:r>
              <a:rPr lang="en-US" sz="1600" dirty="0">
                <a:ea typeface="Arial" panose="020B0604020202020204" pitchFamily="34" charset="0"/>
                <a:cs typeface="Times New Roman" panose="02020603050405020304" pitchFamily="18" charset="0"/>
              </a:rPr>
              <a:t>Not true. </a:t>
            </a:r>
            <a:r>
              <a:rPr lang="en-US" sz="1600" dirty="0">
                <a:effectLst/>
                <a:ea typeface="Arial" panose="020B0604020202020204" pitchFamily="34" charset="0"/>
                <a:cs typeface="Times New Roman" panose="02020603050405020304" pitchFamily="18" charset="0"/>
              </a:rPr>
              <a:t>Calculation error: a pack of NPs has approx. 230 MG (not Gr) of nicotine. </a:t>
            </a:r>
          </a:p>
          <a:p>
            <a:pPr lvl="2"/>
            <a:r>
              <a:rPr lang="en-US" sz="1600" dirty="0">
                <a:effectLst/>
                <a:ea typeface="Calibri" panose="020F0502020204030204" pitchFamily="34" charset="0"/>
                <a:cs typeface="Arial" panose="020B0604020202020204" pitchFamily="34" charset="0"/>
              </a:rPr>
              <a:t>A pack of cigarettes contains approx. 240 mg of nicotine</a:t>
            </a:r>
          </a:p>
          <a:p>
            <a:pPr lvl="2"/>
            <a:r>
              <a:rPr lang="en-US" sz="1600" dirty="0">
                <a:effectLst/>
                <a:ea typeface="Calibri" panose="020F0502020204030204" pitchFamily="34" charset="0"/>
                <a:cs typeface="Arial" panose="020B0604020202020204" pitchFamily="34" charset="0"/>
              </a:rPr>
              <a:t>Cigarettes are known to contain 12 to 24 mg of nicotine, and the law sets a maximum nicotine emission of 1 mg per cigarette. In contrast, a typical nicotine pouch can contain only 1,5 to 12,8 milligrams of nicotine. </a:t>
            </a:r>
          </a:p>
          <a:p>
            <a:r>
              <a:rPr lang="en-US" sz="1600" dirty="0">
                <a:ea typeface="Arial" panose="020B0604020202020204" pitchFamily="34" charset="0"/>
                <a:cs typeface="Arial" panose="020B0604020202020204" pitchFamily="34" charset="0"/>
              </a:rPr>
              <a:t>Myth 2: </a:t>
            </a:r>
          </a:p>
          <a:p>
            <a:pPr lvl="1"/>
            <a:r>
              <a:rPr lang="en-US" sz="1600" b="0" i="1" dirty="0" err="1">
                <a:ea typeface="Arial" panose="020B0604020202020204" pitchFamily="34" charset="0"/>
                <a:cs typeface="Arial" panose="020B0604020202020204" pitchFamily="34" charset="0"/>
              </a:rPr>
              <a:t>Flavours</a:t>
            </a:r>
            <a:r>
              <a:rPr lang="en-US" sz="1600" b="0" i="1" dirty="0">
                <a:ea typeface="Arial" panose="020B0604020202020204" pitchFamily="34" charset="0"/>
                <a:cs typeface="Arial" panose="020B0604020202020204" pitchFamily="34" charset="0"/>
              </a:rPr>
              <a:t> leads young consumers into the category</a:t>
            </a:r>
          </a:p>
          <a:p>
            <a:pPr lvl="2"/>
            <a:r>
              <a:rPr lang="en-US" sz="1600" b="1" dirty="0">
                <a:effectLst/>
                <a:ea typeface="Arial" panose="020B0604020202020204" pitchFamily="34" charset="0"/>
                <a:cs typeface="Arial" panose="020B0604020202020204" pitchFamily="34" charset="0"/>
              </a:rPr>
              <a:t>Not true. </a:t>
            </a:r>
          </a:p>
          <a:p>
            <a:pPr lvl="3"/>
            <a:r>
              <a:rPr lang="en-US" sz="1400" dirty="0">
                <a:effectLst/>
                <a:ea typeface="Arial" panose="020B0604020202020204" pitchFamily="34" charset="0"/>
                <a:cs typeface="Arial" panose="020B0604020202020204" pitchFamily="34" charset="0"/>
              </a:rPr>
              <a:t>The age limit is absolute</a:t>
            </a:r>
          </a:p>
          <a:p>
            <a:pPr lvl="3"/>
            <a:r>
              <a:rPr lang="en-US" sz="1400" dirty="0">
                <a:effectLst/>
                <a:ea typeface="Arial" panose="020B0604020202020204" pitchFamily="34" charset="0"/>
                <a:cs typeface="Arial" panose="020B0604020202020204" pitchFamily="34" charset="0"/>
              </a:rPr>
              <a:t>Based on </a:t>
            </a:r>
            <a:r>
              <a:rPr lang="en-US" sz="1400" dirty="0">
                <a:ea typeface="Arial" panose="020B0604020202020204" pitchFamily="34" charset="0"/>
                <a:cs typeface="Arial" panose="020B0604020202020204" pitchFamily="34" charset="0"/>
              </a:rPr>
              <a:t>Norwegian and Swedish consumers: flavors are more attractive for smokers. </a:t>
            </a:r>
            <a:endParaRPr lang="en-US" sz="1400" dirty="0">
              <a:effectLst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lvl="1"/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489363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89A2DE-2E2D-43DA-A1EA-84FC225DAD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705587" y="3135286"/>
            <a:ext cx="8784000" cy="587427"/>
          </a:xfrm>
        </p:spPr>
        <p:txBody>
          <a:bodyPr/>
          <a:lstStyle/>
          <a:p>
            <a:r>
              <a:rPr lang="en-GB" dirty="0"/>
              <a:t>Smoking is the problem</a:t>
            </a:r>
          </a:p>
        </p:txBody>
      </p:sp>
    </p:spTree>
    <p:extLst>
      <p:ext uri="{BB962C8B-B14F-4D97-AF65-F5344CB8AC3E}">
        <p14:creationId xmlns:p14="http://schemas.microsoft.com/office/powerpoint/2010/main" val="1001291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707BA75-CBE7-324E-97B2-7DB50DE7EF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AF3460F-1D02-2E4C-85E5-6283094FD0C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85200" y="838606"/>
            <a:ext cx="5277663" cy="5258382"/>
          </a:xfrm>
        </p:spPr>
        <p:txBody>
          <a:bodyPr anchor="ctr"/>
          <a:lstStyle/>
          <a:p>
            <a:pPr marL="0" indent="0">
              <a:buNone/>
            </a:pPr>
            <a:r>
              <a:rPr lang="en-GB" i="1" dirty="0"/>
              <a:t>2.1.2. The role of tobacco in the society </a:t>
            </a:r>
          </a:p>
          <a:p>
            <a:pPr marL="288000" lvl="1" indent="0">
              <a:buNone/>
            </a:pPr>
            <a:r>
              <a:rPr lang="en-GB" i="1" dirty="0"/>
              <a:t>Tobacco is a legal product on the EU’s internal market, but is no ordinary commodity in the sense that it is the </a:t>
            </a:r>
            <a:r>
              <a:rPr lang="en-GB" i="1" u="sng" dirty="0"/>
              <a:t>largest avoidable health threat in the EU, responsible for almost 700,000 deaths in the EU each year. </a:t>
            </a:r>
          </a:p>
          <a:p>
            <a:pPr marL="288000" lvl="1" indent="0">
              <a:buNone/>
            </a:pPr>
            <a:endParaRPr lang="en-GB" i="1" u="sng" dirty="0"/>
          </a:p>
          <a:p>
            <a:pPr marL="288000" lvl="1" indent="0">
              <a:buNone/>
            </a:pPr>
            <a:r>
              <a:rPr lang="en-GB" i="1" dirty="0"/>
              <a:t>	              </a:t>
            </a:r>
            <a:r>
              <a:rPr lang="en-GB" dirty="0"/>
              <a:t>- European Commission</a:t>
            </a:r>
          </a:p>
        </p:txBody>
      </p:sp>
      <p:pic>
        <p:nvPicPr>
          <p:cNvPr id="1026" name="Picture 2" descr="President of the European Commission - Wikipedia">
            <a:extLst>
              <a:ext uri="{FF2B5EF4-FFF2-40B4-BE49-F238E27FC236}">
                <a16:creationId xmlns:a16="http://schemas.microsoft.com/office/drawing/2014/main" id="{FE41A1B2-FD91-194D-8BD7-D927A2A6034F}"/>
              </a:ext>
            </a:extLst>
          </p:cNvPr>
          <p:cNvPicPr>
            <a:picLocks noGrp="1" noChangeAspect="1" noChangeArrowheads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3374" y="2127549"/>
            <a:ext cx="3866100" cy="2680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0EED3FD5-280A-744C-95B9-EA26BA096099}"/>
              </a:ext>
            </a:extLst>
          </p:cNvPr>
          <p:cNvSpPr txBox="1"/>
          <p:nvPr/>
        </p:nvSpPr>
        <p:spPr>
          <a:xfrm>
            <a:off x="6097587" y="6513653"/>
            <a:ext cx="6211950" cy="24423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buClr>
                <a:schemeClr val="accent3"/>
              </a:buClr>
            </a:pPr>
            <a:r>
              <a:rPr lang="nb-NO" sz="1100" dirty="0">
                <a:solidFill>
                  <a:schemeClr val="bg2">
                    <a:lumMod val="90000"/>
                  </a:schemeClr>
                </a:solidFill>
              </a:rPr>
              <a:t>Source: </a:t>
            </a:r>
            <a:r>
              <a:rPr lang="nb-NO" sz="1100" dirty="0" err="1">
                <a:solidFill>
                  <a:schemeClr val="bg2">
                    <a:lumMod val="90000"/>
                  </a:schemeClr>
                </a:solidFill>
              </a:rPr>
              <a:t>https</a:t>
            </a:r>
            <a:r>
              <a:rPr lang="nb-NO" sz="1100" dirty="0">
                <a:solidFill>
                  <a:schemeClr val="bg2">
                    <a:lumMod val="90000"/>
                  </a:schemeClr>
                </a:solidFill>
              </a:rPr>
              <a:t>://</a:t>
            </a:r>
            <a:r>
              <a:rPr lang="nb-NO" sz="1100" dirty="0" err="1">
                <a:solidFill>
                  <a:schemeClr val="bg2">
                    <a:lumMod val="90000"/>
                  </a:schemeClr>
                </a:solidFill>
              </a:rPr>
              <a:t>ec.europa.eu</a:t>
            </a:r>
            <a:r>
              <a:rPr lang="nb-NO" sz="1100" dirty="0">
                <a:solidFill>
                  <a:schemeClr val="bg2">
                    <a:lumMod val="90000"/>
                  </a:schemeClr>
                </a:solidFill>
              </a:rPr>
              <a:t>/</a:t>
            </a:r>
            <a:r>
              <a:rPr lang="nb-NO" sz="1100" dirty="0" err="1">
                <a:solidFill>
                  <a:schemeClr val="bg2">
                    <a:lumMod val="90000"/>
                  </a:schemeClr>
                </a:solidFill>
              </a:rPr>
              <a:t>health</a:t>
            </a:r>
            <a:r>
              <a:rPr lang="nb-NO" sz="1100" dirty="0">
                <a:solidFill>
                  <a:schemeClr val="bg2">
                    <a:lumMod val="90000"/>
                  </a:schemeClr>
                </a:solidFill>
              </a:rPr>
              <a:t>/</a:t>
            </a:r>
            <a:r>
              <a:rPr lang="nb-NO" sz="1100" dirty="0" err="1">
                <a:solidFill>
                  <a:schemeClr val="bg2">
                    <a:lumMod val="90000"/>
                  </a:schemeClr>
                </a:solidFill>
              </a:rPr>
              <a:t>sites</a:t>
            </a:r>
            <a:r>
              <a:rPr lang="nb-NO" sz="1100" dirty="0">
                <a:solidFill>
                  <a:schemeClr val="bg2">
                    <a:lumMod val="90000"/>
                  </a:schemeClr>
                </a:solidFill>
              </a:rPr>
              <a:t>/</a:t>
            </a:r>
            <a:r>
              <a:rPr lang="nb-NO" sz="1100" dirty="0" err="1">
                <a:solidFill>
                  <a:schemeClr val="bg2">
                    <a:lumMod val="90000"/>
                  </a:schemeClr>
                </a:solidFill>
              </a:rPr>
              <a:t>default</a:t>
            </a:r>
            <a:r>
              <a:rPr lang="nb-NO" sz="1100" dirty="0">
                <a:solidFill>
                  <a:schemeClr val="bg2">
                    <a:lumMod val="90000"/>
                  </a:schemeClr>
                </a:solidFill>
              </a:rPr>
              <a:t>/files/</a:t>
            </a:r>
            <a:r>
              <a:rPr lang="nb-NO" sz="1100" dirty="0" err="1">
                <a:solidFill>
                  <a:schemeClr val="bg2">
                    <a:lumMod val="90000"/>
                  </a:schemeClr>
                </a:solidFill>
              </a:rPr>
              <a:t>tobacco</a:t>
            </a:r>
            <a:r>
              <a:rPr lang="nb-NO" sz="1100" dirty="0">
                <a:solidFill>
                  <a:schemeClr val="bg2">
                    <a:lumMod val="90000"/>
                  </a:schemeClr>
                </a:solidFill>
              </a:rPr>
              <a:t>/</a:t>
            </a:r>
            <a:r>
              <a:rPr lang="nb-NO" sz="1100" dirty="0" err="1">
                <a:solidFill>
                  <a:schemeClr val="bg2">
                    <a:lumMod val="90000"/>
                  </a:schemeClr>
                </a:solidFill>
              </a:rPr>
              <a:t>docs</a:t>
            </a:r>
            <a:r>
              <a:rPr lang="nb-NO" sz="1100" dirty="0">
                <a:solidFill>
                  <a:schemeClr val="bg2">
                    <a:lumMod val="90000"/>
                  </a:schemeClr>
                </a:solidFill>
              </a:rPr>
              <a:t>/com_2012_788_ia_en.pdf</a:t>
            </a:r>
          </a:p>
        </p:txBody>
      </p:sp>
    </p:spTree>
    <p:extLst>
      <p:ext uri="{BB962C8B-B14F-4D97-AF65-F5344CB8AC3E}">
        <p14:creationId xmlns:p14="http://schemas.microsoft.com/office/powerpoint/2010/main" val="937093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9ED03119-40A7-4B55-B6C5-D3F3F58FFA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novation increasingly seen as part of the solution </a:t>
            </a:r>
            <a:endParaRPr lang="sv-S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6E866B-76AD-4549-AE66-0F5510A45A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5200" y="838606"/>
            <a:ext cx="7288140" cy="5258382"/>
          </a:xfrm>
        </p:spPr>
        <p:txBody>
          <a:bodyPr/>
          <a:lstStyle/>
          <a:p>
            <a:pPr marL="0" indent="0">
              <a:buNone/>
            </a:pPr>
            <a:r>
              <a:rPr lang="en-US" b="0" i="1" dirty="0">
                <a:solidFill>
                  <a:schemeClr val="tx2"/>
                </a:solidFill>
              </a:rPr>
              <a:t>“Where users have a range of options to  similar functional effects, regulation should facilitate transitions to nicotine options with reduced risk”</a:t>
            </a:r>
          </a:p>
          <a:p>
            <a:pPr marL="0" indent="0">
              <a:buNone/>
            </a:pPr>
            <a:r>
              <a:rPr lang="en-US" sz="1200" b="0" i="1" dirty="0">
                <a:solidFill>
                  <a:schemeClr val="tx2"/>
                </a:solidFill>
              </a:rPr>
              <a:t>Royal College of Physicians UK (2016)</a:t>
            </a:r>
          </a:p>
          <a:p>
            <a:pPr marL="0" indent="0">
              <a:buNone/>
            </a:pPr>
            <a:endParaRPr lang="en-US" i="1" dirty="0">
              <a:solidFill>
                <a:schemeClr val="tx2"/>
              </a:solidFill>
            </a:endParaRPr>
          </a:p>
          <a:p>
            <a:pPr marL="0" indent="0">
              <a:buNone/>
            </a:pPr>
            <a:r>
              <a:rPr lang="en-US" b="0" i="1" dirty="0">
                <a:solidFill>
                  <a:schemeClr val="tx2"/>
                </a:solidFill>
              </a:rPr>
              <a:t>“We will help people quit smoking by permitting innovative technologies that minimize the risk of harm. We will maximize the availability of safer alternatives to smoking” </a:t>
            </a:r>
          </a:p>
          <a:p>
            <a:pPr marL="0" indent="0">
              <a:buNone/>
            </a:pPr>
            <a:r>
              <a:rPr lang="en-US" sz="1200" b="0" i="1" dirty="0">
                <a:solidFill>
                  <a:schemeClr val="tx2"/>
                </a:solidFill>
              </a:rPr>
              <a:t>UK Department of Health (2017)</a:t>
            </a:r>
          </a:p>
          <a:p>
            <a:pPr marL="0" indent="0">
              <a:buNone/>
            </a:pPr>
            <a:endParaRPr lang="en-US" i="1" dirty="0">
              <a:solidFill>
                <a:schemeClr val="tx2"/>
              </a:solidFill>
            </a:endParaRPr>
          </a:p>
          <a:p>
            <a:pPr marL="0" indent="0">
              <a:buNone/>
            </a:pPr>
            <a:r>
              <a:rPr lang="en-US" b="0" i="1" dirty="0">
                <a:solidFill>
                  <a:schemeClr val="tx2"/>
                </a:solidFill>
              </a:rPr>
              <a:t>“A renewed focus on nicotine. Adults who still need or want nicotine can get it from alternative and less harmful sources.  FDA stands ready to do its share.” </a:t>
            </a:r>
          </a:p>
          <a:p>
            <a:pPr marL="0" indent="0">
              <a:buNone/>
            </a:pPr>
            <a:r>
              <a:rPr lang="en-US" sz="1200" b="0" i="1" dirty="0">
                <a:solidFill>
                  <a:schemeClr val="tx2"/>
                </a:solidFill>
              </a:rPr>
              <a:t>FDA (2017)</a:t>
            </a:r>
          </a:p>
          <a:p>
            <a:endParaRPr lang="sv-SE" i="1" dirty="0">
              <a:solidFill>
                <a:schemeClr val="tx2"/>
              </a:solidFill>
            </a:endParaRPr>
          </a:p>
          <a:p>
            <a:endParaRPr lang="sv-SE" i="1" dirty="0">
              <a:solidFill>
                <a:schemeClr val="tx2"/>
              </a:solidFill>
            </a:endParaRP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FB6023-1ED1-437D-93DF-A4D46528CE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D96889-B02B-46F6-90F4-5321315CCA4E}" type="slidenum">
              <a:rPr lang="en-US" smtClean="0"/>
              <a:t>9</a:t>
            </a:fld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086448E-A8C0-460A-BA75-2AF4B7CCF8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63271" y="965568"/>
            <a:ext cx="3827530" cy="476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04456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6030WrRPSF8Zi43aQ5Jw"/>
</p:tagLst>
</file>

<file path=ppt/theme/theme1.xml><?xml version="1.0" encoding="utf-8"?>
<a:theme xmlns:a="http://schemas.openxmlformats.org/drawingml/2006/main" name="Swedish Match widescreen">
  <a:themeElements>
    <a:clrScheme name="Swedish Match1">
      <a:dk1>
        <a:sysClr val="windowText" lastClr="000000"/>
      </a:dk1>
      <a:lt1>
        <a:sysClr val="window" lastClr="FFFFFF"/>
      </a:lt1>
      <a:dk2>
        <a:srgbClr val="075B79"/>
      </a:dk2>
      <a:lt2>
        <a:srgbClr val="F2F2F2"/>
      </a:lt2>
      <a:accent1>
        <a:srgbClr val="075B79"/>
      </a:accent1>
      <a:accent2>
        <a:srgbClr val="66A1B5"/>
      </a:accent2>
      <a:accent3>
        <a:srgbClr val="D48127"/>
      </a:accent3>
      <a:accent4>
        <a:srgbClr val="B3C5CE"/>
      </a:accent4>
      <a:accent5>
        <a:srgbClr val="6E808C"/>
      </a:accent5>
      <a:accent6>
        <a:srgbClr val="F8B134"/>
      </a:accent6>
      <a:hlink>
        <a:srgbClr val="0000FF"/>
      </a:hlink>
      <a:folHlink>
        <a:srgbClr val="800080"/>
      </a:folHlink>
    </a:clrScheme>
    <a:fontScheme name="Swedish Match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 marL="252000" indent="-252000">
          <a:buClr>
            <a:schemeClr val="accent3"/>
          </a:buClr>
          <a:buFont typeface="Courier New" panose="02070309020205020404" pitchFamily="49" charset="0"/>
          <a:buChar char="o"/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BDD50DB5-4267-4B07-A76C-B06791FC4AB3}" vid="{E958CD87-C04D-4EB2-90FA-9F1A272C888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Swedish Match">
    <a:dk1>
      <a:sysClr val="windowText" lastClr="000000"/>
    </a:dk1>
    <a:lt1>
      <a:sysClr val="window" lastClr="FFFFFF"/>
    </a:lt1>
    <a:dk2>
      <a:srgbClr val="075B79"/>
    </a:dk2>
    <a:lt2>
      <a:srgbClr val="F2F2F2"/>
    </a:lt2>
    <a:accent1>
      <a:srgbClr val="075B79"/>
    </a:accent1>
    <a:accent2>
      <a:srgbClr val="66A1B5"/>
    </a:accent2>
    <a:accent3>
      <a:srgbClr val="D48127"/>
    </a:accent3>
    <a:accent4>
      <a:srgbClr val="B3C5CE"/>
    </a:accent4>
    <a:accent5>
      <a:srgbClr val="6E808C"/>
    </a:accent5>
    <a:accent6>
      <a:srgbClr val="F8B134"/>
    </a:accent6>
    <a:hlink>
      <a:srgbClr val="0000FF"/>
    </a:hlink>
    <a:folHlink>
      <a:srgbClr val="800080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Swedish Match">
    <a:dk1>
      <a:sysClr val="windowText" lastClr="000000"/>
    </a:dk1>
    <a:lt1>
      <a:sysClr val="window" lastClr="FFFFFF"/>
    </a:lt1>
    <a:dk2>
      <a:srgbClr val="075B79"/>
    </a:dk2>
    <a:lt2>
      <a:srgbClr val="F2F2F2"/>
    </a:lt2>
    <a:accent1>
      <a:srgbClr val="075B79"/>
    </a:accent1>
    <a:accent2>
      <a:srgbClr val="66A1B5"/>
    </a:accent2>
    <a:accent3>
      <a:srgbClr val="D48127"/>
    </a:accent3>
    <a:accent4>
      <a:srgbClr val="B3C5CE"/>
    </a:accent4>
    <a:accent5>
      <a:srgbClr val="6E808C"/>
    </a:accent5>
    <a:accent6>
      <a:srgbClr val="F8B134"/>
    </a:accent6>
    <a:hlink>
      <a:srgbClr val="0000FF"/>
    </a:hlink>
    <a:folHlink>
      <a:srgbClr val="800080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709</TotalTime>
  <Words>1333</Words>
  <Application>Microsoft Office PowerPoint</Application>
  <PresentationFormat>Custom</PresentationFormat>
  <Paragraphs>229</Paragraphs>
  <Slides>20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5" baseType="lpstr">
      <vt:lpstr>Arial</vt:lpstr>
      <vt:lpstr>Calibri</vt:lpstr>
      <vt:lpstr>Courier New</vt:lpstr>
      <vt:lpstr>Swedish Match widescreen</vt:lpstr>
      <vt:lpstr>think-cell Slide</vt:lpstr>
      <vt:lpstr>PowerPoint Presentation</vt:lpstr>
      <vt:lpstr>PowerPoint Presentation</vt:lpstr>
      <vt:lpstr>History of strategic transformation</vt:lpstr>
      <vt:lpstr>THE EVOLUTION OF SMOKEless PRODUCTS IN SCANDINAVIA</vt:lpstr>
      <vt:lpstr>WHAT is ZYN?</vt:lpstr>
      <vt:lpstr>Myths about nicotine pouches</vt:lpstr>
      <vt:lpstr>PowerPoint Presentation</vt:lpstr>
      <vt:lpstr>PowerPoint Presentation</vt:lpstr>
      <vt:lpstr>Innovation increasingly seen as part of the solution </vt:lpstr>
      <vt:lpstr>Smoking comparison</vt:lpstr>
      <vt:lpstr>Smoking in latvia</vt:lpstr>
      <vt:lpstr>Tobacco habits in Sweden and Norway 2020</vt:lpstr>
      <vt:lpstr>Daily use of tobacco in Norway</vt:lpstr>
      <vt:lpstr>Swedish men is proof of concept</vt:lpstr>
      <vt:lpstr>Smoking and degree of regulations (2017)</vt:lpstr>
      <vt:lpstr>Harm reduction equation</vt:lpstr>
      <vt:lpstr>What has driven this change away from cigarettes?</vt:lpstr>
      <vt:lpstr>Regulations for Oral Nicotine (a simplification)</vt:lpstr>
      <vt:lpstr>Danish Health Authorities</vt:lpstr>
      <vt:lpstr>how to use Nicotine pouches in fighting smoking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icotine Pouches – how to regulate</dc:title>
  <dc:creator>Nils Erlimo</dc:creator>
  <cp:lastModifiedBy>Nils Erlimo</cp:lastModifiedBy>
  <cp:revision>15</cp:revision>
  <dcterms:created xsi:type="dcterms:W3CDTF">2021-09-09T07:19:04Z</dcterms:created>
  <dcterms:modified xsi:type="dcterms:W3CDTF">2021-09-13T12:35:18Z</dcterms:modified>
  <cp:version>2.0</cp:version>
</cp:coreProperties>
</file>